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5"/>
  </p:notesMasterIdLst>
  <p:sldIdLst>
    <p:sldId id="273" r:id="rId5"/>
    <p:sldId id="811" r:id="rId6"/>
    <p:sldId id="2147481005" r:id="rId7"/>
    <p:sldId id="2147481007" r:id="rId8"/>
    <p:sldId id="319" r:id="rId9"/>
    <p:sldId id="2147480935" r:id="rId10"/>
    <p:sldId id="2147481008" r:id="rId11"/>
    <p:sldId id="2147481006" r:id="rId12"/>
    <p:sldId id="2147480936" r:id="rId13"/>
    <p:sldId id="2147480926" r:id="rId14"/>
    <p:sldId id="2147480947" r:id="rId15"/>
    <p:sldId id="2147480938" r:id="rId16"/>
    <p:sldId id="2147480999" r:id="rId17"/>
    <p:sldId id="2147480927" r:id="rId18"/>
    <p:sldId id="2147481004" r:id="rId19"/>
    <p:sldId id="2147480920" r:id="rId20"/>
    <p:sldId id="2147481003" r:id="rId21"/>
    <p:sldId id="2147480928" r:id="rId22"/>
    <p:sldId id="2147480943" r:id="rId23"/>
    <p:sldId id="2147480942" r:id="rId24"/>
  </p:sldIdLst>
  <p:sldSz cx="9144000" cy="6858000" type="screen4x3"/>
  <p:notesSz cx="6858000" cy="9144000"/>
  <p:custDataLst>
    <p:tags r:id="rId2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14613D4B-3D08-4EB1-BDC0-D3D7DC7CADC9}">
          <p14:sldIdLst>
            <p14:sldId id="273"/>
            <p14:sldId id="811"/>
            <p14:sldId id="2147481005"/>
            <p14:sldId id="2147481007"/>
          </p14:sldIdLst>
        </p14:section>
        <p14:section name="PARTIE 1" id="{4CD32A24-51C7-9342-B8BE-10CC3CF110B1}">
          <p14:sldIdLst>
            <p14:sldId id="319"/>
            <p14:sldId id="2147480935"/>
            <p14:sldId id="2147481008"/>
            <p14:sldId id="2147481006"/>
            <p14:sldId id="2147480936"/>
            <p14:sldId id="2147480926"/>
            <p14:sldId id="2147480947"/>
            <p14:sldId id="2147480938"/>
            <p14:sldId id="2147480999"/>
            <p14:sldId id="2147480927"/>
            <p14:sldId id="2147481004"/>
            <p14:sldId id="2147480920"/>
            <p14:sldId id="2147481003"/>
            <p14:sldId id="2147480928"/>
            <p14:sldId id="2147480943"/>
            <p14:sldId id="214748094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 pos="1275">
          <p15:clr>
            <a:srgbClr val="A4A3A4"/>
          </p15:clr>
        </p15:guide>
        <p15:guide id="4" orient="horz" pos="4224">
          <p15:clr>
            <a:srgbClr val="A4A3A4"/>
          </p15:clr>
        </p15:guide>
        <p15:guide id="5" orient="horz" pos="459">
          <p15:clr>
            <a:srgbClr val="A4A3A4"/>
          </p15:clr>
        </p15:guide>
        <p15:guide id="6" orient="horz" pos="255">
          <p15:clr>
            <a:srgbClr val="A4A3A4"/>
          </p15:clr>
        </p15:guide>
        <p15:guide id="7" orient="horz" pos="1253">
          <p15:clr>
            <a:srgbClr val="A4A3A4"/>
          </p15:clr>
        </p15:guide>
        <p15:guide id="8" orient="horz" pos="981">
          <p15:clr>
            <a:srgbClr val="A4A3A4"/>
          </p15:clr>
        </p15:guide>
        <p15:guide id="9" orient="horz" pos="1003">
          <p15:clr>
            <a:srgbClr val="A4A3A4"/>
          </p15:clr>
        </p15:guide>
        <p15:guide id="10" pos="2880">
          <p15:clr>
            <a:srgbClr val="A4A3A4"/>
          </p15:clr>
        </p15:guide>
        <p15:guide id="11" pos="1111">
          <p15:clr>
            <a:srgbClr val="A4A3A4"/>
          </p15:clr>
        </p15:guide>
        <p15:guide id="12" pos="5193">
          <p15:clr>
            <a:srgbClr val="A4A3A4"/>
          </p15:clr>
        </p15:guide>
        <p15:guide id="13" pos="839">
          <p15:clr>
            <a:srgbClr val="A4A3A4"/>
          </p15:clr>
        </p15:guide>
        <p15:guide id="14" pos="5556">
          <p15:clr>
            <a:srgbClr val="A4A3A4"/>
          </p15:clr>
        </p15:guide>
        <p15:guide id="15" pos="1565">
          <p15:clr>
            <a:srgbClr val="A4A3A4"/>
          </p15:clr>
        </p15:guide>
        <p15:guide id="16" pos="1882">
          <p15:clr>
            <a:srgbClr val="A4A3A4"/>
          </p15:clr>
        </p15:guide>
        <p15:guide id="17" pos="998">
          <p15:clr>
            <a:srgbClr val="A4A3A4"/>
          </p15:clr>
        </p15:guide>
        <p15:guide id="18" pos="1406">
          <p15:clr>
            <a:srgbClr val="A4A3A4"/>
          </p15:clr>
        </p15:guide>
        <p15:guide id="19" pos="725">
          <p15:clr>
            <a:srgbClr val="A4A3A4"/>
          </p15:clr>
        </p15:guide>
        <p15:guide id="20" pos="748">
          <p15:clr>
            <a:srgbClr val="A4A3A4"/>
          </p15:clr>
        </p15:guide>
        <p15:guide id="21" pos="5284">
          <p15:clr>
            <a:srgbClr val="A4A3A4"/>
          </p15:clr>
        </p15:guide>
        <p15:guide id="22" pos="1202">
          <p15:clr>
            <a:srgbClr val="A4A3A4"/>
          </p15:clr>
        </p15:guide>
        <p15:guide id="23" pos="862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B476CB1-0018-06BA-4CD6-AC0DD55038F0}" name="Virsna HEM (FR)" initials="VH" userId="S::virsna.hem@pwc.com::c3220296-899a-413e-9be6-835a9f668b2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053A1"/>
    <a:srgbClr val="CBCBCB"/>
    <a:srgbClr val="70B755"/>
    <a:srgbClr val="0099C3"/>
    <a:srgbClr val="00B1AF"/>
    <a:srgbClr val="70B856"/>
    <a:srgbClr val="63C7E8"/>
    <a:srgbClr val="E7E7E7"/>
    <a:srgbClr val="1B92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38C233B-22F2-4B1C-B27E-F59B1EE2BA95}" v="864" dt="2024-10-10T07:57:17.0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0357" autoAdjust="0"/>
    <p:restoredTop sz="93763" autoAdjust="0"/>
  </p:normalViewPr>
  <p:slideViewPr>
    <p:cSldViewPr snapToGrid="0">
      <p:cViewPr>
        <p:scale>
          <a:sx n="63" d="100"/>
          <a:sy n="63" d="100"/>
        </p:scale>
        <p:origin x="-427" y="317"/>
      </p:cViewPr>
      <p:guideLst>
        <p:guide orient="horz" pos="2160"/>
        <p:guide orient="horz" pos="3838"/>
        <p:guide orient="horz" pos="1275"/>
        <p:guide orient="horz" pos="4224"/>
        <p:guide orient="horz" pos="459"/>
        <p:guide orient="horz" pos="255"/>
        <p:guide orient="horz" pos="1253"/>
        <p:guide orient="horz" pos="981"/>
        <p:guide orient="horz" pos="1003"/>
        <p:guide pos="2880"/>
        <p:guide pos="1111"/>
        <p:guide pos="5193"/>
        <p:guide pos="839"/>
        <p:guide pos="5556"/>
        <p:guide pos="1565"/>
        <p:guide pos="1882"/>
        <p:guide pos="998"/>
        <p:guide pos="1406"/>
        <p:guide pos="725"/>
        <p:guide pos="748"/>
        <p:guide pos="5284"/>
        <p:guide pos="1202"/>
        <p:guide pos="86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jah Boussaha" userId="0dc29535-6583-43fe-b6bd-d2b799c561d6" providerId="ADAL" clId="{538C233B-22F2-4B1C-B27E-F59B1EE2BA95}"/>
    <pc:docChg chg="undo custSel addSld delSld modSld sldOrd modSection">
      <pc:chgData name="Elijah Boussaha" userId="0dc29535-6583-43fe-b6bd-d2b799c561d6" providerId="ADAL" clId="{538C233B-22F2-4B1C-B27E-F59B1EE2BA95}" dt="2024-10-10T07:57:17.028" v="1747" actId="20577"/>
      <pc:docMkLst>
        <pc:docMk/>
      </pc:docMkLst>
      <pc:sldChg chg="addSp delSp modSp mod">
        <pc:chgData name="Elijah Boussaha" userId="0dc29535-6583-43fe-b6bd-d2b799c561d6" providerId="ADAL" clId="{538C233B-22F2-4B1C-B27E-F59B1EE2BA95}" dt="2024-10-09T09:18:29.944" v="1115" actId="20577"/>
        <pc:sldMkLst>
          <pc:docMk/>
          <pc:sldMk cId="602546599" sldId="273"/>
        </pc:sldMkLst>
        <pc:spChg chg="del mod">
          <ac:chgData name="Elijah Boussaha" userId="0dc29535-6583-43fe-b6bd-d2b799c561d6" providerId="ADAL" clId="{538C233B-22F2-4B1C-B27E-F59B1EE2BA95}" dt="2024-10-09T07:55:59.244" v="7" actId="478"/>
          <ac:spMkLst>
            <pc:docMk/>
            <pc:sldMk cId="602546599" sldId="273"/>
            <ac:spMk id="2" creationId="{00000000-0000-0000-0000-000000000000}"/>
          </ac:spMkLst>
        </pc:spChg>
        <pc:spChg chg="add mod">
          <ac:chgData name="Elijah Boussaha" userId="0dc29535-6583-43fe-b6bd-d2b799c561d6" providerId="ADAL" clId="{538C233B-22F2-4B1C-B27E-F59B1EE2BA95}" dt="2024-10-09T09:18:29.944" v="1115" actId="20577"/>
          <ac:spMkLst>
            <pc:docMk/>
            <pc:sldMk cId="602546599" sldId="273"/>
            <ac:spMk id="7" creationId="{E4793328-2DF9-7355-2DF2-D4ADA49DEEA1}"/>
          </ac:spMkLst>
        </pc:spChg>
        <pc:spChg chg="add del mod">
          <ac:chgData name="Elijah Boussaha" userId="0dc29535-6583-43fe-b6bd-d2b799c561d6" providerId="ADAL" clId="{538C233B-22F2-4B1C-B27E-F59B1EE2BA95}" dt="2024-10-09T07:56:01.503" v="8" actId="478"/>
          <ac:spMkLst>
            <pc:docMk/>
            <pc:sldMk cId="602546599" sldId="273"/>
            <ac:spMk id="9" creationId="{D7D7CED8-08C7-8340-408A-A10BBDFD1932}"/>
          </ac:spMkLst>
        </pc:spChg>
      </pc:sldChg>
      <pc:sldChg chg="modSp mod">
        <pc:chgData name="Elijah Boussaha" userId="0dc29535-6583-43fe-b6bd-d2b799c561d6" providerId="ADAL" clId="{538C233B-22F2-4B1C-B27E-F59B1EE2BA95}" dt="2024-10-09T08:02:33.793" v="49" actId="20577"/>
        <pc:sldMkLst>
          <pc:docMk/>
          <pc:sldMk cId="2032135764" sldId="319"/>
        </pc:sldMkLst>
        <pc:spChg chg="mod">
          <ac:chgData name="Elijah Boussaha" userId="0dc29535-6583-43fe-b6bd-d2b799c561d6" providerId="ADAL" clId="{538C233B-22F2-4B1C-B27E-F59B1EE2BA95}" dt="2024-10-09T08:02:33.793" v="49" actId="20577"/>
          <ac:spMkLst>
            <pc:docMk/>
            <pc:sldMk cId="2032135764" sldId="319"/>
            <ac:spMk id="80" creationId="{EFCDDFCC-0FFC-E54D-9108-EC297C63A32C}"/>
          </ac:spMkLst>
        </pc:spChg>
      </pc:sldChg>
      <pc:sldChg chg="del">
        <pc:chgData name="Elijah Boussaha" userId="0dc29535-6583-43fe-b6bd-d2b799c561d6" providerId="ADAL" clId="{538C233B-22F2-4B1C-B27E-F59B1EE2BA95}" dt="2024-10-09T07:56:30.164" v="9" actId="47"/>
        <pc:sldMkLst>
          <pc:docMk/>
          <pc:sldMk cId="3801514545" sldId="803"/>
        </pc:sldMkLst>
      </pc:sldChg>
      <pc:sldChg chg="ord">
        <pc:chgData name="Elijah Boussaha" userId="0dc29535-6583-43fe-b6bd-d2b799c561d6" providerId="ADAL" clId="{538C233B-22F2-4B1C-B27E-F59B1EE2BA95}" dt="2024-10-09T07:56:39.208" v="12"/>
        <pc:sldMkLst>
          <pc:docMk/>
          <pc:sldMk cId="2104894487" sldId="811"/>
        </pc:sldMkLst>
      </pc:sldChg>
      <pc:sldChg chg="modSp mod ord">
        <pc:chgData name="Elijah Boussaha" userId="0dc29535-6583-43fe-b6bd-d2b799c561d6" providerId="ADAL" clId="{538C233B-22F2-4B1C-B27E-F59B1EE2BA95}" dt="2024-10-09T08:51:10.369" v="679" actId="20577"/>
        <pc:sldMkLst>
          <pc:docMk/>
          <pc:sldMk cId="497708205" sldId="2147480926"/>
        </pc:sldMkLst>
        <pc:spChg chg="mod">
          <ac:chgData name="Elijah Boussaha" userId="0dc29535-6583-43fe-b6bd-d2b799c561d6" providerId="ADAL" clId="{538C233B-22F2-4B1C-B27E-F59B1EE2BA95}" dt="2024-10-09T08:51:02.996" v="656" actId="20577"/>
          <ac:spMkLst>
            <pc:docMk/>
            <pc:sldMk cId="497708205" sldId="2147480926"/>
            <ac:spMk id="3" creationId="{78098351-F385-9E87-D6BB-DFA481977B16}"/>
          </ac:spMkLst>
        </pc:spChg>
        <pc:spChg chg="mod">
          <ac:chgData name="Elijah Boussaha" userId="0dc29535-6583-43fe-b6bd-d2b799c561d6" providerId="ADAL" clId="{538C233B-22F2-4B1C-B27E-F59B1EE2BA95}" dt="2024-10-09T08:51:10.369" v="679" actId="20577"/>
          <ac:spMkLst>
            <pc:docMk/>
            <pc:sldMk cId="497708205" sldId="2147480926"/>
            <ac:spMk id="80" creationId="{AF26F73A-7AA0-EB08-1D4E-2678BEF9B667}"/>
          </ac:spMkLst>
        </pc:spChg>
      </pc:sldChg>
      <pc:sldChg chg="addSp delSp modSp mod modAnim">
        <pc:chgData name="Elijah Boussaha" userId="0dc29535-6583-43fe-b6bd-d2b799c561d6" providerId="ADAL" clId="{538C233B-22F2-4B1C-B27E-F59B1EE2BA95}" dt="2024-10-10T07:24:34.509" v="1485" actId="478"/>
        <pc:sldMkLst>
          <pc:docMk/>
          <pc:sldMk cId="3597401650" sldId="2147480935"/>
        </pc:sldMkLst>
        <pc:spChg chg="mod">
          <ac:chgData name="Elijah Boussaha" userId="0dc29535-6583-43fe-b6bd-d2b799c561d6" providerId="ADAL" clId="{538C233B-22F2-4B1C-B27E-F59B1EE2BA95}" dt="2024-10-09T08:16:52.030" v="304" actId="1076"/>
          <ac:spMkLst>
            <pc:docMk/>
            <pc:sldMk cId="3597401650" sldId="2147480935"/>
            <ac:spMk id="4" creationId="{F7EA82B3-4240-D353-D7F8-83AD11DB3092}"/>
          </ac:spMkLst>
        </pc:spChg>
        <pc:spChg chg="add mod">
          <ac:chgData name="Elijah Boussaha" userId="0dc29535-6583-43fe-b6bd-d2b799c561d6" providerId="ADAL" clId="{538C233B-22F2-4B1C-B27E-F59B1EE2BA95}" dt="2024-10-09T08:05:26.828" v="67"/>
          <ac:spMkLst>
            <pc:docMk/>
            <pc:sldMk cId="3597401650" sldId="2147480935"/>
            <ac:spMk id="5" creationId="{D9356767-09C7-CDCD-F2DC-DDD929F199F5}"/>
          </ac:spMkLst>
        </pc:spChg>
        <pc:spChg chg="del mod">
          <ac:chgData name="Elijah Boussaha" userId="0dc29535-6583-43fe-b6bd-d2b799c561d6" providerId="ADAL" clId="{538C233B-22F2-4B1C-B27E-F59B1EE2BA95}" dt="2024-10-09T08:02:45.581" v="54" actId="478"/>
          <ac:spMkLst>
            <pc:docMk/>
            <pc:sldMk cId="3597401650" sldId="2147480935"/>
            <ac:spMk id="7" creationId="{1C31A2F3-AE00-4DBA-A607-4607F1AAADA8}"/>
          </ac:spMkLst>
        </pc:spChg>
        <pc:spChg chg="del">
          <ac:chgData name="Elijah Boussaha" userId="0dc29535-6583-43fe-b6bd-d2b799c561d6" providerId="ADAL" clId="{538C233B-22F2-4B1C-B27E-F59B1EE2BA95}" dt="2024-10-09T08:02:46.453" v="55" actId="478"/>
          <ac:spMkLst>
            <pc:docMk/>
            <pc:sldMk cId="3597401650" sldId="2147480935"/>
            <ac:spMk id="9" creationId="{8FF7FEBB-FB5F-423C-9AB2-AAACC15DB0D5}"/>
          </ac:spMkLst>
        </pc:spChg>
        <pc:spChg chg="del">
          <ac:chgData name="Elijah Boussaha" userId="0dc29535-6583-43fe-b6bd-d2b799c561d6" providerId="ADAL" clId="{538C233B-22F2-4B1C-B27E-F59B1EE2BA95}" dt="2024-10-09T08:02:47.562" v="56" actId="478"/>
          <ac:spMkLst>
            <pc:docMk/>
            <pc:sldMk cId="3597401650" sldId="2147480935"/>
            <ac:spMk id="16" creationId="{644B67F6-6622-4F51-A2ED-D3C33120AEF0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8" creationId="{C25CCA9D-6E56-A7DF-9A8A-0771E159BC1E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9" creationId="{54EC0D84-7623-FD57-7F52-17C1CDDB2701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20" creationId="{62D35709-BD6D-BB17-690E-E94FBF0B90B3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21" creationId="{5B127A9C-BD88-06DA-7C53-230EB830B252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22" creationId="{A1363BC8-69AE-BF81-B536-2819B0BDFDF5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23" creationId="{F524E225-7B59-1B5B-9FB5-012997DB0961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24" creationId="{FBEF3D56-C164-7C5A-891A-7E4D78F7D2E2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25" creationId="{930A3299-37F7-4A59-E10F-E32E6109485B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26" creationId="{63FAE88A-DF8F-45A1-8574-FFF1C9721D08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27" creationId="{A3D81880-56F7-4B7D-ABA7-269F5ADA8D34}"/>
          </ac:spMkLst>
        </pc:spChg>
        <pc:spChg chg="del">
          <ac:chgData name="Elijah Boussaha" userId="0dc29535-6583-43fe-b6bd-d2b799c561d6" providerId="ADAL" clId="{538C233B-22F2-4B1C-B27E-F59B1EE2BA95}" dt="2024-10-09T08:02:43.428" v="51" actId="478"/>
          <ac:spMkLst>
            <pc:docMk/>
            <pc:sldMk cId="3597401650" sldId="2147480935"/>
            <ac:spMk id="28" creationId="{1E8F92A7-CD8B-43E6-AE2E-1F31FB4F5538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29" creationId="{AC5A68DC-6BBA-44E6-9458-A6C1D6F36176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30" creationId="{995F421D-35C0-4A4A-849B-481F702B425E}"/>
          </ac:spMkLst>
        </pc:spChg>
        <pc:spChg chg="del">
          <ac:chgData name="Elijah Boussaha" userId="0dc29535-6583-43fe-b6bd-d2b799c561d6" providerId="ADAL" clId="{538C233B-22F2-4B1C-B27E-F59B1EE2BA95}" dt="2024-10-09T08:02:43.877" v="52" actId="478"/>
          <ac:spMkLst>
            <pc:docMk/>
            <pc:sldMk cId="3597401650" sldId="2147480935"/>
            <ac:spMk id="31" creationId="{85E9F3F5-EBB7-4EC1-A271-36DDF1E7F0CB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32" creationId="{AE3A6D5D-4B4E-4E7C-A7FC-563CBB79729F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33" creationId="{E7B4201B-C439-4511-9B51-235F74FDD019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34" creationId="{8D22DC6B-E07A-49AA-9DBC-E4EA63182E07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35" creationId="{BA944495-289D-4AED-9D27-DE2616E05D26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36" creationId="{9CFD6C9C-170F-4774-B9C3-2FCB9A518193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37" creationId="{EC0B15D4-2B91-4A2C-AFDF-6A338586107C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38" creationId="{07E1EE65-8CB5-4FF1-8CB7-3A0D0155CA46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39" creationId="{732F59EA-FE7B-4D22-83C9-3DF49BA7BB66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40" creationId="{0333946D-D142-4D5E-8B04-312322596BE4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41" creationId="{A77B5EEA-DF7D-4086-961B-38C94D4B2FCE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42" creationId="{9864C195-3B59-49A5-A869-7A8888BFCCB9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43" creationId="{2C8F2D01-A2A8-4593-BC60-BCC2E38C0F61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44" creationId="{8B65301B-CA9A-4901-AA75-094AD9991CC3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45" creationId="{7BA29F21-CB29-46B4-9545-51F3BADA3BE8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46" creationId="{2AB11A99-20BB-48DA-B3C3-ACE18C37B85C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47" creationId="{86097DF1-6306-4077-9CFB-7EBFFD3DDA5A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48" creationId="{D67F4812-1DF3-48AC-829F-F53E9B58EA91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56" creationId="{CFA37AC4-F365-4172-8CCF-6CD49B56C6B7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64" creationId="{5189FF85-25C2-4DD6-B985-2F0A5F28FA64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65" creationId="{861CE426-B658-4963-A431-A7B509E319A2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70" creationId="{B16649E3-DF29-4716-91A4-36A45CAD8108}"/>
          </ac:spMkLst>
        </pc:spChg>
        <pc:spChg chg="del">
          <ac:chgData name="Elijah Boussaha" userId="0dc29535-6583-43fe-b6bd-d2b799c561d6" providerId="ADAL" clId="{538C233B-22F2-4B1C-B27E-F59B1EE2BA95}" dt="2024-10-09T08:02:42.109" v="50" actId="478"/>
          <ac:spMkLst>
            <pc:docMk/>
            <pc:sldMk cId="3597401650" sldId="2147480935"/>
            <ac:spMk id="72" creationId="{A4447658-466B-4F58-8ABC-E828EB0A978D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34" creationId="{B44F3AB4-8AAE-9E98-FBEE-D450617A9CEB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35" creationId="{B85ADF40-336A-577D-1B60-A0090F145257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36" creationId="{638F35A2-57E5-E2F4-BB7B-79AAA99BF715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37" creationId="{BA15CFA3-F394-7B41-E6E6-4A1A7B7EFE03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38" creationId="{92D78C36-CBDB-0380-335D-DBDB3A7A3AB1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39" creationId="{D240B78F-5C35-4E85-037A-893362C17D5F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40" creationId="{A694D922-AB08-6613-ED4A-F2CB64016661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41" creationId="{A6A44759-E530-6997-7B27-47DA0D96052A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42" creationId="{24D4CE17-E31B-4027-0E79-ADE692AD2BD5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43" creationId="{A67C7F8F-DF30-1EE2-33E2-34107EA6D8AD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44" creationId="{4324B3FC-E25B-23C5-4993-08E7199D4EDF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45" creationId="{260B013F-8A9E-C756-7EE2-C5DB3AC6FFE3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46" creationId="{28068F93-D509-B46E-47A2-35871F580985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47" creationId="{F7D44C95-15FE-3805-1F5D-3CF2A7BC42BC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48" creationId="{F7509A58-8176-16F6-BEC5-C7A206913076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49" creationId="{A131AF9A-EFC4-09B9-EA19-69D4357BBDE5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50" creationId="{A237CB9E-5AD7-DDED-7674-792F547C7BA0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51" creationId="{4E1B6F79-F53A-656B-1C82-1C44B55D25BA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52" creationId="{7BEB8CE5-8F20-DEEB-6B10-0C68283F0150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53" creationId="{54FB4540-7EF5-A0D2-8D05-0A099AA7A00D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54" creationId="{0741E923-A782-F3C2-EB0A-3F73FDDDE0C7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55" creationId="{9F6B748B-381A-CF2F-5119-8B2E1B56625E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56" creationId="{1A42C212-2270-1FB9-492D-D2D03DFDF8A0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57" creationId="{8E028C3B-32F2-9266-D9D8-0AFA18BDFB51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58" creationId="{F6AA34FB-6911-39C2-9E31-83E9610E755D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59" creationId="{5E8DE2A6-EEBA-3E75-4325-29F9083F0B10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60" creationId="{1C012115-3770-AED1-390F-D9CBE47B3C15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61" creationId="{8BF62D8C-80F3-5D61-CDBD-B406B4795338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62" creationId="{0920184B-DD54-05BD-FB9F-DA086BEF835E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63" creationId="{6F122E15-2AFB-8BC4-A533-E7DA7235D6ED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64" creationId="{CCA5AB95-1151-190F-4E53-0F599F59FABE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65" creationId="{7D07C4AC-3780-94FA-D73A-CD4AA2D8002A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66" creationId="{B9DF804D-08E1-3B64-20FE-58A3D332C531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67" creationId="{5E05F22C-664E-B8C0-2827-995A4A773F9D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68" creationId="{5A332C2E-B250-3DBD-EEFC-56F973C950C7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69" creationId="{9960DDEA-1105-F63E-2C22-7A4E219F0FEF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70" creationId="{344A2A5B-02E1-F970-62D6-9EAAAE0F97F3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71" creationId="{EA6E53A3-B9F7-E80A-4102-4BDCF828D6D4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72" creationId="{EA4D16F8-D6D1-80E1-48B3-E26C5E0F70E8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73" creationId="{4EE77FED-AC79-0B4F-BB28-C94D7A68511E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74" creationId="{3EB08325-A02C-60C3-E70A-51A056076D47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75" creationId="{37D6D882-E929-83DE-34BB-CFBC181358B9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76" creationId="{A7744E0A-691F-9F75-686E-6CFBC78062B7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77" creationId="{06201ABD-0B56-9D97-EF05-06FDD5237DB1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78" creationId="{3A5D687A-FC38-019C-2626-EEB245F45169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79" creationId="{869916AF-CE99-8F0B-C24E-C873F0A88BFF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80" creationId="{F46FEC71-79FA-4090-6828-14D997FDB79A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81" creationId="{D6ED6A42-A630-E391-A4EB-D94EF61E2753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82" creationId="{7FED36BF-C19F-C6BF-FACA-C11B262E1A9D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83" creationId="{E360CDEC-FB85-FFC8-B48A-F57A79F58022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84" creationId="{2BD6ABD5-0CE8-68EF-3AF0-C3BC08F4446E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85" creationId="{53562035-34F5-8D6C-55C5-5BDCF27A058F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86" creationId="{F17E143A-E26D-B0F3-D48C-8361286CEB60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87" creationId="{12CE23CA-BFCE-382D-180A-2AB028643535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88" creationId="{5C0327D7-7DFA-4D63-7A2F-FC5F5C7B4636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89" creationId="{C9DB5360-2584-E58E-F008-F01363FAAFC1}"/>
          </ac:spMkLst>
        </pc:spChg>
        <pc:spChg chg="add mod">
          <ac:chgData name="Elijah Boussaha" userId="0dc29535-6583-43fe-b6bd-d2b799c561d6" providerId="ADAL" clId="{538C233B-22F2-4B1C-B27E-F59B1EE2BA95}" dt="2024-10-09T08:05:23.131" v="66" actId="14100"/>
          <ac:spMkLst>
            <pc:docMk/>
            <pc:sldMk cId="3597401650" sldId="2147480935"/>
            <ac:spMk id="190" creationId="{F6A8C555-C735-E378-844C-6520500AC29F}"/>
          </ac:spMkLst>
        </pc:spChg>
        <pc:spChg chg="mod">
          <ac:chgData name="Elijah Boussaha" userId="0dc29535-6583-43fe-b6bd-d2b799c561d6" providerId="ADAL" clId="{538C233B-22F2-4B1C-B27E-F59B1EE2BA95}" dt="2024-10-09T08:05:08.638" v="64"/>
          <ac:spMkLst>
            <pc:docMk/>
            <pc:sldMk cId="3597401650" sldId="2147480935"/>
            <ac:spMk id="192" creationId="{871501BC-D01D-D150-2F0F-163AAD4AE694}"/>
          </ac:spMkLst>
        </pc:spChg>
        <pc:spChg chg="mod">
          <ac:chgData name="Elijah Boussaha" userId="0dc29535-6583-43fe-b6bd-d2b799c561d6" providerId="ADAL" clId="{538C233B-22F2-4B1C-B27E-F59B1EE2BA95}" dt="2024-10-09T08:05:08.638" v="64"/>
          <ac:spMkLst>
            <pc:docMk/>
            <pc:sldMk cId="3597401650" sldId="2147480935"/>
            <ac:spMk id="193" creationId="{A5E16E70-A024-E101-F0EA-08567BA4E0DD}"/>
          </ac:spMkLst>
        </pc:spChg>
        <pc:spChg chg="mod">
          <ac:chgData name="Elijah Boussaha" userId="0dc29535-6583-43fe-b6bd-d2b799c561d6" providerId="ADAL" clId="{538C233B-22F2-4B1C-B27E-F59B1EE2BA95}" dt="2024-10-09T08:05:08.638" v="64"/>
          <ac:spMkLst>
            <pc:docMk/>
            <pc:sldMk cId="3597401650" sldId="2147480935"/>
            <ac:spMk id="194" creationId="{E1D6C55D-6D87-FDAE-CF9A-891063EA26CB}"/>
          </ac:spMkLst>
        </pc:spChg>
        <pc:spChg chg="mod">
          <ac:chgData name="Elijah Boussaha" userId="0dc29535-6583-43fe-b6bd-d2b799c561d6" providerId="ADAL" clId="{538C233B-22F2-4B1C-B27E-F59B1EE2BA95}" dt="2024-10-09T08:05:08.638" v="64"/>
          <ac:spMkLst>
            <pc:docMk/>
            <pc:sldMk cId="3597401650" sldId="2147480935"/>
            <ac:spMk id="196" creationId="{A86FAEB9-0AB3-C7BC-A796-8783F865978E}"/>
          </ac:spMkLst>
        </pc:spChg>
        <pc:spChg chg="mod">
          <ac:chgData name="Elijah Boussaha" userId="0dc29535-6583-43fe-b6bd-d2b799c561d6" providerId="ADAL" clId="{538C233B-22F2-4B1C-B27E-F59B1EE2BA95}" dt="2024-10-09T08:05:08.638" v="64"/>
          <ac:spMkLst>
            <pc:docMk/>
            <pc:sldMk cId="3597401650" sldId="2147480935"/>
            <ac:spMk id="197" creationId="{51951694-31F6-1A44-6B3A-4B0FD436EBCE}"/>
          </ac:spMkLst>
        </pc:spChg>
        <pc:spChg chg="mod">
          <ac:chgData name="Elijah Boussaha" userId="0dc29535-6583-43fe-b6bd-d2b799c561d6" providerId="ADAL" clId="{538C233B-22F2-4B1C-B27E-F59B1EE2BA95}" dt="2024-10-09T08:05:08.638" v="64"/>
          <ac:spMkLst>
            <pc:docMk/>
            <pc:sldMk cId="3597401650" sldId="2147480935"/>
            <ac:spMk id="198" creationId="{B711A952-161F-3A97-D0A9-23536C41CB03}"/>
          </ac:spMkLst>
        </pc:spChg>
        <pc:spChg chg="add mod">
          <ac:chgData name="Elijah Boussaha" userId="0dc29535-6583-43fe-b6bd-d2b799c561d6" providerId="ADAL" clId="{538C233B-22F2-4B1C-B27E-F59B1EE2BA95}" dt="2024-10-09T08:05:39.483" v="69"/>
          <ac:spMkLst>
            <pc:docMk/>
            <pc:sldMk cId="3597401650" sldId="2147480935"/>
            <ac:spMk id="199" creationId="{1FEAD087-EFA5-7656-510C-110327DF4E6F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09" creationId="{2D555F41-E7EC-6D78-CB23-7A05C3141067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10" creationId="{6EC0E968-5BD8-6B8F-0EC2-2E62DA35A348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11" creationId="{175217BA-2395-C9B9-CB67-2235D5D78A0A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12" creationId="{19CE6B9B-4389-1B13-F7CE-C12C3BD7F750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13" creationId="{E53D99FC-52F5-4A2E-C3FB-D952C9A294CA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14" creationId="{AD2F2742-974D-A80B-2AEC-1C73EC49FB63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15" creationId="{404628EE-9341-53F3-9093-91996B41C57D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16" creationId="{7B02ED7F-BF4F-920E-48ED-D5962679C3D9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17" creationId="{9657269D-F09D-2239-6DF2-0D556E208F38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18" creationId="{2D3D68BC-6701-71BF-EF6D-56AF8ABFB548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19" creationId="{113646DE-AD7F-6A8E-924A-AAC0048DA649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20" creationId="{B07DF90F-1EA0-8C33-496E-A5C64484722A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21" creationId="{B9384172-FAC9-3F8B-CBAF-2FDDF1CA67FE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22" creationId="{CE58DC8E-E990-08AE-FB9F-EED1374A8827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23" creationId="{7FE9C567-4118-43E8-C726-3FFC34333F13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24" creationId="{9E65E56E-2CB5-C1D4-B812-8023795F3C1C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25" creationId="{470F4385-D009-552C-1649-F6BBD9E6BC57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26" creationId="{FAE9AA22-405F-8395-3E35-2E5DD7F4189B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27" creationId="{A1ADDDF8-E99E-4F24-AB5B-FF568B3B7748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28" creationId="{4606F4EF-1773-45CF-2284-A59DDD2DBB5B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29" creationId="{3AF6A53D-B499-153C-7FA1-06FEE4F0C315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30" creationId="{09EB6F50-A83B-477D-BFDA-88C81024E501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31" creationId="{90A00814-8EA0-3829-C9BF-DAAC95B1116D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32" creationId="{52B61A33-DB22-02CA-0430-6A8E80749F6C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33" creationId="{E4476DA5-38F9-1886-8C35-5D09E6C3CEE5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34" creationId="{E2FE84CD-9452-0B31-1F84-F2B427D26A31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35" creationId="{E0120F0A-6A39-5E8C-8FFE-D5F276BDDE92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36" creationId="{D752C648-AB47-BAD0-F173-44868A714EEE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37" creationId="{27D9E710-8AC8-5C36-CFA3-696B0C40BF0F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38" creationId="{405AAFAA-24F4-646C-6E12-CB515D587B09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39" creationId="{0D101CCD-BD51-44C2-88D7-AB9F98BE1FF3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40" creationId="{0B8EB290-4F3F-D847-E773-2D68110745A8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41" creationId="{7B7B3A2C-C4E8-FCCB-D222-E672BC394E05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42" creationId="{D9009400-F582-9C9F-E467-A50B8B733ED1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43" creationId="{1256065A-C37C-2C87-7CEB-51F9D32E1685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44" creationId="{458441D0-2362-4FB1-F0C2-ADEE53690BBB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45" creationId="{320417D6-ED9C-6E83-31AB-94D349E12978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46" creationId="{B836D180-4E2E-3B59-327A-41C3C4946BD2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47" creationId="{EB09B473-E9DF-1DFD-F0B2-F04C401E01E7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48" creationId="{07979152-711D-DD59-4F48-FFA420DF8C5E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49" creationId="{AD424AB9-7A8F-4299-B665-CA3564A3D085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50" creationId="{77B83069-0A12-B002-7CBA-82902080B06F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51" creationId="{A481AC16-6CAC-623A-7D10-153A90BDDF31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52" creationId="{B6A302DA-837A-D23C-C474-E50C4AD04A73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53" creationId="{336F5A8E-0637-F15D-0CF0-ED54AA682368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54" creationId="{DFB48CC8-239E-9887-9C3F-407FBA342396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55" creationId="{3089999A-D4A9-582D-0C06-2863B3FD0379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56" creationId="{40471CDA-251A-BC1C-B092-7DA73AD5E48A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57" creationId="{D892A7B9-36F7-D3C4-D135-A6BD2F0CE95D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58" creationId="{00F53F0B-B5B7-0FF7-E83F-7BF7FE611A38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59" creationId="{DEB2C6BB-62DF-89E3-F2EC-B941C328BEF9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60" creationId="{4B83D64C-E757-1CEA-D749-030870625E6D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61" creationId="{57B337F8-AB53-E07A-4467-F42873D582F3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62" creationId="{7C235AB8-08AB-C3FD-E451-6FA0D10DA5CC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63" creationId="{B6B89F2A-5B5C-4510-956A-F588018FF658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64" creationId="{B5775CD7-15E5-F8AB-7F09-49DA20954A11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65" creationId="{EAF2327C-8BFF-B5F4-A0FB-E4CAE12B42BF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66" creationId="{132C010E-74E2-3B9E-916E-4A1CFDFCF994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67" creationId="{A53E5F16-CC6B-8EE5-7E77-435B9DADA5D6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68" creationId="{6A29D8AD-48CF-408C-1491-81F4BE4A5B6E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69" creationId="{947DF9C3-C2B1-913C-E478-74F1DA4AF732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70" creationId="{35419E3D-DB81-43E1-5961-A45AF63F88C0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71" creationId="{AEA8245E-66B5-F240-999B-C05B4A3D4977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72" creationId="{148C9276-D6BF-ACC0-0DAC-FE8099ADEABB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73" creationId="{29260E25-0D29-58A0-E2FE-970D568AA3FF}"/>
          </ac:spMkLst>
        </pc:spChg>
        <pc:spChg chg="add 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74" creationId="{25CDE09B-615F-8EB2-3E9A-56576C6FA5B8}"/>
          </ac:spMkLst>
        </pc:spChg>
        <pc:spChg chg="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76" creationId="{5A0DC55C-8375-32E4-8D9F-2070FE2214F6}"/>
          </ac:spMkLst>
        </pc:spChg>
        <pc:spChg chg="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77" creationId="{4FF3407B-6D75-A3DC-EBA5-B402439B1613}"/>
          </ac:spMkLst>
        </pc:spChg>
        <pc:spChg chg="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78" creationId="{CA4D78D9-ADD7-2DB8-37EC-3D6F66384FE3}"/>
          </ac:spMkLst>
        </pc:spChg>
        <pc:spChg chg="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80" creationId="{822D255E-9D7A-43EA-DBD7-D8BC7F23C60C}"/>
          </ac:spMkLst>
        </pc:spChg>
        <pc:spChg chg="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81" creationId="{6FBE362B-E623-9BEE-10E7-40B666ED8F93}"/>
          </ac:spMkLst>
        </pc:spChg>
        <pc:spChg chg="mod">
          <ac:chgData name="Elijah Boussaha" userId="0dc29535-6583-43fe-b6bd-d2b799c561d6" providerId="ADAL" clId="{538C233B-22F2-4B1C-B27E-F59B1EE2BA95}" dt="2024-10-09T08:05:28.896" v="68"/>
          <ac:spMkLst>
            <pc:docMk/>
            <pc:sldMk cId="3597401650" sldId="2147480935"/>
            <ac:spMk id="282" creationId="{F46E7AB9-4E83-E3EF-5F8E-E849F4FB8034}"/>
          </ac:spMkLst>
        </pc:spChg>
        <pc:spChg chg="add del mod">
          <ac:chgData name="Elijah Boussaha" userId="0dc29535-6583-43fe-b6bd-d2b799c561d6" providerId="ADAL" clId="{538C233B-22F2-4B1C-B27E-F59B1EE2BA95}" dt="2024-10-10T07:24:34.509" v="1485" actId="478"/>
          <ac:spMkLst>
            <pc:docMk/>
            <pc:sldMk cId="3597401650" sldId="2147480935"/>
            <ac:spMk id="287" creationId="{A46EFD46-932E-B330-AFE2-5FD3B052F375}"/>
          </ac:spMkLst>
        </pc:spChg>
        <pc:spChg chg="add del mod">
          <ac:chgData name="Elijah Boussaha" userId="0dc29535-6583-43fe-b6bd-d2b799c561d6" providerId="ADAL" clId="{538C233B-22F2-4B1C-B27E-F59B1EE2BA95}" dt="2024-10-09T08:45:09.942" v="543" actId="478"/>
          <ac:spMkLst>
            <pc:docMk/>
            <pc:sldMk cId="3597401650" sldId="2147480935"/>
            <ac:spMk id="288" creationId="{D6B57FD0-9E30-97E3-D7A8-13736F7C7888}"/>
          </ac:spMkLst>
        </pc:spChg>
        <pc:spChg chg="add del">
          <ac:chgData name="Elijah Boussaha" userId="0dc29535-6583-43fe-b6bd-d2b799c561d6" providerId="ADAL" clId="{538C233B-22F2-4B1C-B27E-F59B1EE2BA95}" dt="2024-10-09T08:14:11.996" v="297" actId="478"/>
          <ac:spMkLst>
            <pc:docMk/>
            <pc:sldMk cId="3597401650" sldId="2147480935"/>
            <ac:spMk id="289" creationId="{811AE02B-0B99-E02E-7A14-2A9C06212662}"/>
          </ac:spMkLst>
        </pc:spChg>
        <pc:spChg chg="add mod">
          <ac:chgData name="Elijah Boussaha" userId="0dc29535-6583-43fe-b6bd-d2b799c561d6" providerId="ADAL" clId="{538C233B-22F2-4B1C-B27E-F59B1EE2BA95}" dt="2024-10-10T07:14:36.087" v="1130" actId="14100"/>
          <ac:spMkLst>
            <pc:docMk/>
            <pc:sldMk cId="3597401650" sldId="2147480935"/>
            <ac:spMk id="290" creationId="{9ECD199C-4E48-3D99-64FD-589FCFA1E6DC}"/>
          </ac:spMkLst>
        </pc:spChg>
        <pc:grpChg chg="del">
          <ac:chgData name="Elijah Boussaha" userId="0dc29535-6583-43fe-b6bd-d2b799c561d6" providerId="ADAL" clId="{538C233B-22F2-4B1C-B27E-F59B1EE2BA95}" dt="2024-10-09T08:02:42.109" v="50" actId="478"/>
          <ac:grpSpMkLst>
            <pc:docMk/>
            <pc:sldMk cId="3597401650" sldId="2147480935"/>
            <ac:grpSpMk id="61" creationId="{D77EF690-0AD2-4387-B513-52B6CA6DB9EF}"/>
          </ac:grpSpMkLst>
        </pc:grpChg>
        <pc:grpChg chg="del">
          <ac:chgData name="Elijah Boussaha" userId="0dc29535-6583-43fe-b6bd-d2b799c561d6" providerId="ADAL" clId="{538C233B-22F2-4B1C-B27E-F59B1EE2BA95}" dt="2024-10-09T08:02:42.109" v="50" actId="478"/>
          <ac:grpSpMkLst>
            <pc:docMk/>
            <pc:sldMk cId="3597401650" sldId="2147480935"/>
            <ac:grpSpMk id="62" creationId="{83A9FD59-12D4-4406-B579-557F1A1158BA}"/>
          </ac:grpSpMkLst>
        </pc:grpChg>
        <pc:grpChg chg="del">
          <ac:chgData name="Elijah Boussaha" userId="0dc29535-6583-43fe-b6bd-d2b799c561d6" providerId="ADAL" clId="{538C233B-22F2-4B1C-B27E-F59B1EE2BA95}" dt="2024-10-09T08:02:42.109" v="50" actId="478"/>
          <ac:grpSpMkLst>
            <pc:docMk/>
            <pc:sldMk cId="3597401650" sldId="2147480935"/>
            <ac:grpSpMk id="63" creationId="{D1D69DBF-0212-47F4-A7B4-08095278DA27}"/>
          </ac:grpSpMkLst>
        </pc:grpChg>
        <pc:grpChg chg="del">
          <ac:chgData name="Elijah Boussaha" userId="0dc29535-6583-43fe-b6bd-d2b799c561d6" providerId="ADAL" clId="{538C233B-22F2-4B1C-B27E-F59B1EE2BA95}" dt="2024-10-09T08:02:42.109" v="50" actId="478"/>
          <ac:grpSpMkLst>
            <pc:docMk/>
            <pc:sldMk cId="3597401650" sldId="2147480935"/>
            <ac:grpSpMk id="66" creationId="{B71218ED-B7BA-4E71-BC38-5F77FAB7558E}"/>
          </ac:grpSpMkLst>
        </pc:grpChg>
        <pc:grpChg chg="del">
          <ac:chgData name="Elijah Boussaha" userId="0dc29535-6583-43fe-b6bd-d2b799c561d6" providerId="ADAL" clId="{538C233B-22F2-4B1C-B27E-F59B1EE2BA95}" dt="2024-10-09T08:02:42.109" v="50" actId="478"/>
          <ac:grpSpMkLst>
            <pc:docMk/>
            <pc:sldMk cId="3597401650" sldId="2147480935"/>
            <ac:grpSpMk id="71" creationId="{66D62936-2A2B-4932-A724-61B76ACAC14D}"/>
          </ac:grpSpMkLst>
        </pc:grpChg>
        <pc:grpChg chg="add mod">
          <ac:chgData name="Elijah Boussaha" userId="0dc29535-6583-43fe-b6bd-d2b799c561d6" providerId="ADAL" clId="{538C233B-22F2-4B1C-B27E-F59B1EE2BA95}" dt="2024-10-09T08:05:23.131" v="66" actId="14100"/>
          <ac:grpSpMkLst>
            <pc:docMk/>
            <pc:sldMk cId="3597401650" sldId="2147480935"/>
            <ac:grpSpMk id="191" creationId="{90F30080-1FAF-0E0F-6E77-377AC208E6EE}"/>
          </ac:grpSpMkLst>
        </pc:grpChg>
        <pc:grpChg chg="add mod">
          <ac:chgData name="Elijah Boussaha" userId="0dc29535-6583-43fe-b6bd-d2b799c561d6" providerId="ADAL" clId="{538C233B-22F2-4B1C-B27E-F59B1EE2BA95}" dt="2024-10-09T08:05:23.131" v="66" actId="14100"/>
          <ac:grpSpMkLst>
            <pc:docMk/>
            <pc:sldMk cId="3597401650" sldId="2147480935"/>
            <ac:grpSpMk id="195" creationId="{28AB2E72-EACD-5A94-365E-A7010FC13D37}"/>
          </ac:grpSpMkLst>
        </pc:grpChg>
        <pc:grpChg chg="add mod">
          <ac:chgData name="Elijah Boussaha" userId="0dc29535-6583-43fe-b6bd-d2b799c561d6" providerId="ADAL" clId="{538C233B-22F2-4B1C-B27E-F59B1EE2BA95}" dt="2024-10-09T08:05:28.896" v="68"/>
          <ac:grpSpMkLst>
            <pc:docMk/>
            <pc:sldMk cId="3597401650" sldId="2147480935"/>
            <ac:grpSpMk id="275" creationId="{57513281-70DC-D48B-7A1A-7DE1385B5131}"/>
          </ac:grpSpMkLst>
        </pc:grpChg>
        <pc:grpChg chg="add mod">
          <ac:chgData name="Elijah Boussaha" userId="0dc29535-6583-43fe-b6bd-d2b799c561d6" providerId="ADAL" clId="{538C233B-22F2-4B1C-B27E-F59B1EE2BA95}" dt="2024-10-09T08:05:28.896" v="68"/>
          <ac:grpSpMkLst>
            <pc:docMk/>
            <pc:sldMk cId="3597401650" sldId="2147480935"/>
            <ac:grpSpMk id="279" creationId="{A4BD2B15-6F87-EDFB-8072-079353749585}"/>
          </ac:grpSpMkLst>
        </pc:grpChg>
        <pc:picChg chg="add mod">
          <ac:chgData name="Elijah Boussaha" userId="0dc29535-6583-43fe-b6bd-d2b799c561d6" providerId="ADAL" clId="{538C233B-22F2-4B1C-B27E-F59B1EE2BA95}" dt="2024-10-09T08:05:23.131" v="66" actId="14100"/>
          <ac:picMkLst>
            <pc:docMk/>
            <pc:sldMk cId="3597401650" sldId="2147480935"/>
            <ac:picMk id="6" creationId="{22672326-C79A-1F1B-204F-8AFD773ADF77}"/>
          </ac:picMkLst>
        </pc:picChg>
        <pc:picChg chg="add mod">
          <ac:chgData name="Elijah Boussaha" userId="0dc29535-6583-43fe-b6bd-d2b799c561d6" providerId="ADAL" clId="{538C233B-22F2-4B1C-B27E-F59B1EE2BA95}" dt="2024-10-09T08:05:23.131" v="66" actId="14100"/>
          <ac:picMkLst>
            <pc:docMk/>
            <pc:sldMk cId="3597401650" sldId="2147480935"/>
            <ac:picMk id="8" creationId="{7B490F83-0ED8-CE8B-83A8-EC82783D26E1}"/>
          </ac:picMkLst>
        </pc:picChg>
        <pc:picChg chg="add mod">
          <ac:chgData name="Elijah Boussaha" userId="0dc29535-6583-43fe-b6bd-d2b799c561d6" providerId="ADAL" clId="{538C233B-22F2-4B1C-B27E-F59B1EE2BA95}" dt="2024-10-09T08:05:23.131" v="66" actId="14100"/>
          <ac:picMkLst>
            <pc:docMk/>
            <pc:sldMk cId="3597401650" sldId="2147480935"/>
            <ac:picMk id="10" creationId="{162C4A98-2625-2079-70BC-4450416C9BE7}"/>
          </ac:picMkLst>
        </pc:picChg>
        <pc:picChg chg="add mod">
          <ac:chgData name="Elijah Boussaha" userId="0dc29535-6583-43fe-b6bd-d2b799c561d6" providerId="ADAL" clId="{538C233B-22F2-4B1C-B27E-F59B1EE2BA95}" dt="2024-10-09T08:05:23.131" v="66" actId="14100"/>
          <ac:picMkLst>
            <pc:docMk/>
            <pc:sldMk cId="3597401650" sldId="2147480935"/>
            <ac:picMk id="11" creationId="{453F0240-73AF-9943-74C2-B46A6D72DE1D}"/>
          </ac:picMkLst>
        </pc:picChg>
        <pc:picChg chg="add mod">
          <ac:chgData name="Elijah Boussaha" userId="0dc29535-6583-43fe-b6bd-d2b799c561d6" providerId="ADAL" clId="{538C233B-22F2-4B1C-B27E-F59B1EE2BA95}" dt="2024-10-09T08:05:23.131" v="66" actId="14100"/>
          <ac:picMkLst>
            <pc:docMk/>
            <pc:sldMk cId="3597401650" sldId="2147480935"/>
            <ac:picMk id="12" creationId="{50D44EAC-57B3-2A8C-028E-E84C3D051329}"/>
          </ac:picMkLst>
        </pc:picChg>
        <pc:picChg chg="add mod">
          <ac:chgData name="Elijah Boussaha" userId="0dc29535-6583-43fe-b6bd-d2b799c561d6" providerId="ADAL" clId="{538C233B-22F2-4B1C-B27E-F59B1EE2BA95}" dt="2024-10-09T08:05:23.131" v="66" actId="14100"/>
          <ac:picMkLst>
            <pc:docMk/>
            <pc:sldMk cId="3597401650" sldId="2147480935"/>
            <ac:picMk id="13" creationId="{B34FB5E7-16EA-C2FC-B713-C61E3D350BB1}"/>
          </ac:picMkLst>
        </pc:picChg>
        <pc:picChg chg="add mod">
          <ac:chgData name="Elijah Boussaha" userId="0dc29535-6583-43fe-b6bd-d2b799c561d6" providerId="ADAL" clId="{538C233B-22F2-4B1C-B27E-F59B1EE2BA95}" dt="2024-10-09T08:05:23.131" v="66" actId="14100"/>
          <ac:picMkLst>
            <pc:docMk/>
            <pc:sldMk cId="3597401650" sldId="2147480935"/>
            <ac:picMk id="14" creationId="{D1424AC5-2861-85A3-61F8-5AD634A6C327}"/>
          </ac:picMkLst>
        </pc:picChg>
        <pc:picChg chg="add mod">
          <ac:chgData name="Elijah Boussaha" userId="0dc29535-6583-43fe-b6bd-d2b799c561d6" providerId="ADAL" clId="{538C233B-22F2-4B1C-B27E-F59B1EE2BA95}" dt="2024-10-09T08:05:23.131" v="66" actId="14100"/>
          <ac:picMkLst>
            <pc:docMk/>
            <pc:sldMk cId="3597401650" sldId="2147480935"/>
            <ac:picMk id="15" creationId="{0937623B-0A34-751D-B601-1E04748D7284}"/>
          </ac:picMkLst>
        </pc:picChg>
        <pc:picChg chg="add mod">
          <ac:chgData name="Elijah Boussaha" userId="0dc29535-6583-43fe-b6bd-d2b799c561d6" providerId="ADAL" clId="{538C233B-22F2-4B1C-B27E-F59B1EE2BA95}" dt="2024-10-09T08:05:23.131" v="66" actId="14100"/>
          <ac:picMkLst>
            <pc:docMk/>
            <pc:sldMk cId="3597401650" sldId="2147480935"/>
            <ac:picMk id="17" creationId="{30F67F9D-29CA-9890-8FC7-9D491B47746A}"/>
          </ac:picMkLst>
        </pc:picChg>
        <pc:picChg chg="add mod">
          <ac:chgData name="Elijah Boussaha" userId="0dc29535-6583-43fe-b6bd-d2b799c561d6" providerId="ADAL" clId="{538C233B-22F2-4B1C-B27E-F59B1EE2BA95}" dt="2024-10-09T08:05:28.896" v="68"/>
          <ac:picMkLst>
            <pc:docMk/>
            <pc:sldMk cId="3597401650" sldId="2147480935"/>
            <ac:picMk id="200" creationId="{4F8F179E-9C1A-427C-D005-55C489838C01}"/>
          </ac:picMkLst>
        </pc:picChg>
        <pc:picChg chg="add mod">
          <ac:chgData name="Elijah Boussaha" userId="0dc29535-6583-43fe-b6bd-d2b799c561d6" providerId="ADAL" clId="{538C233B-22F2-4B1C-B27E-F59B1EE2BA95}" dt="2024-10-09T08:05:28.896" v="68"/>
          <ac:picMkLst>
            <pc:docMk/>
            <pc:sldMk cId="3597401650" sldId="2147480935"/>
            <ac:picMk id="201" creationId="{6703801E-8ECB-A71C-E4BA-51B652578308}"/>
          </ac:picMkLst>
        </pc:picChg>
        <pc:picChg chg="add mod">
          <ac:chgData name="Elijah Boussaha" userId="0dc29535-6583-43fe-b6bd-d2b799c561d6" providerId="ADAL" clId="{538C233B-22F2-4B1C-B27E-F59B1EE2BA95}" dt="2024-10-09T08:05:28.896" v="68"/>
          <ac:picMkLst>
            <pc:docMk/>
            <pc:sldMk cId="3597401650" sldId="2147480935"/>
            <ac:picMk id="202" creationId="{FCD4FF75-D85D-C671-7B4E-5BCAB4459FA5}"/>
          </ac:picMkLst>
        </pc:picChg>
        <pc:picChg chg="add mod">
          <ac:chgData name="Elijah Boussaha" userId="0dc29535-6583-43fe-b6bd-d2b799c561d6" providerId="ADAL" clId="{538C233B-22F2-4B1C-B27E-F59B1EE2BA95}" dt="2024-10-09T08:05:28.896" v="68"/>
          <ac:picMkLst>
            <pc:docMk/>
            <pc:sldMk cId="3597401650" sldId="2147480935"/>
            <ac:picMk id="203" creationId="{F5574155-FACA-D379-E0DA-960F7A625519}"/>
          </ac:picMkLst>
        </pc:picChg>
        <pc:picChg chg="add mod">
          <ac:chgData name="Elijah Boussaha" userId="0dc29535-6583-43fe-b6bd-d2b799c561d6" providerId="ADAL" clId="{538C233B-22F2-4B1C-B27E-F59B1EE2BA95}" dt="2024-10-09T08:05:28.896" v="68"/>
          <ac:picMkLst>
            <pc:docMk/>
            <pc:sldMk cId="3597401650" sldId="2147480935"/>
            <ac:picMk id="204" creationId="{3C53CD24-BF96-3477-58BA-76020E596D84}"/>
          </ac:picMkLst>
        </pc:picChg>
        <pc:picChg chg="add mod">
          <ac:chgData name="Elijah Boussaha" userId="0dc29535-6583-43fe-b6bd-d2b799c561d6" providerId="ADAL" clId="{538C233B-22F2-4B1C-B27E-F59B1EE2BA95}" dt="2024-10-09T08:05:28.896" v="68"/>
          <ac:picMkLst>
            <pc:docMk/>
            <pc:sldMk cId="3597401650" sldId="2147480935"/>
            <ac:picMk id="205" creationId="{20F0484F-0AF7-BB1B-1870-3C1A47B8F841}"/>
          </ac:picMkLst>
        </pc:picChg>
        <pc:picChg chg="add mod">
          <ac:chgData name="Elijah Boussaha" userId="0dc29535-6583-43fe-b6bd-d2b799c561d6" providerId="ADAL" clId="{538C233B-22F2-4B1C-B27E-F59B1EE2BA95}" dt="2024-10-09T08:05:28.896" v="68"/>
          <ac:picMkLst>
            <pc:docMk/>
            <pc:sldMk cId="3597401650" sldId="2147480935"/>
            <ac:picMk id="206" creationId="{FC0D4030-EC5E-A792-7BBA-306D577835A1}"/>
          </ac:picMkLst>
        </pc:picChg>
        <pc:picChg chg="add mod">
          <ac:chgData name="Elijah Boussaha" userId="0dc29535-6583-43fe-b6bd-d2b799c561d6" providerId="ADAL" clId="{538C233B-22F2-4B1C-B27E-F59B1EE2BA95}" dt="2024-10-09T08:05:28.896" v="68"/>
          <ac:picMkLst>
            <pc:docMk/>
            <pc:sldMk cId="3597401650" sldId="2147480935"/>
            <ac:picMk id="207" creationId="{6E3A56FD-8B96-BC2F-BE91-8D04BBEB352B}"/>
          </ac:picMkLst>
        </pc:picChg>
        <pc:picChg chg="add mod">
          <ac:chgData name="Elijah Boussaha" userId="0dc29535-6583-43fe-b6bd-d2b799c561d6" providerId="ADAL" clId="{538C233B-22F2-4B1C-B27E-F59B1EE2BA95}" dt="2024-10-09T08:05:28.896" v="68"/>
          <ac:picMkLst>
            <pc:docMk/>
            <pc:sldMk cId="3597401650" sldId="2147480935"/>
            <ac:picMk id="208" creationId="{A9DD62D0-A374-C3D5-693F-61E937C2D0EF}"/>
          </ac:picMkLst>
        </pc:picChg>
        <pc:picChg chg="add del mod">
          <ac:chgData name="Elijah Boussaha" userId="0dc29535-6583-43fe-b6bd-d2b799c561d6" providerId="ADAL" clId="{538C233B-22F2-4B1C-B27E-F59B1EE2BA95}" dt="2024-10-09T08:11:47.582" v="92" actId="478"/>
          <ac:picMkLst>
            <pc:docMk/>
            <pc:sldMk cId="3597401650" sldId="2147480935"/>
            <ac:picMk id="284" creationId="{42EC25FB-5A89-721F-B68E-4FF18D846B80}"/>
          </ac:picMkLst>
        </pc:picChg>
        <pc:picChg chg="add mod">
          <ac:chgData name="Elijah Boussaha" userId="0dc29535-6583-43fe-b6bd-d2b799c561d6" providerId="ADAL" clId="{538C233B-22F2-4B1C-B27E-F59B1EE2BA95}" dt="2024-10-09T08:11:52.458" v="95" actId="1076"/>
          <ac:picMkLst>
            <pc:docMk/>
            <pc:sldMk cId="3597401650" sldId="2147480935"/>
            <ac:picMk id="286" creationId="{4399F07F-E431-9168-4A02-F4FB7EE43313}"/>
          </ac:picMkLst>
        </pc:picChg>
        <pc:cxnChg chg="del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49" creationId="{A090E6A8-B006-4501-8CFE-C4647B7C3EEB}"/>
          </ac:cxnSpMkLst>
        </pc:cxnChg>
        <pc:cxnChg chg="del 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50" creationId="{FA36CA4E-C3F5-435A-BCDC-2C54AB7B9A8F}"/>
          </ac:cxnSpMkLst>
        </pc:cxnChg>
        <pc:cxnChg chg="del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51" creationId="{4A8BDB18-B182-4CBB-AC34-7CBBD38D6CFA}"/>
          </ac:cxnSpMkLst>
        </pc:cxnChg>
        <pc:cxnChg chg="del 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52" creationId="{09DE4F5E-0439-40DD-8CF3-F630F660184B}"/>
          </ac:cxnSpMkLst>
        </pc:cxnChg>
        <pc:cxnChg chg="del 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53" creationId="{460D4790-E39A-49F4-A33E-A83943B311EE}"/>
          </ac:cxnSpMkLst>
        </pc:cxnChg>
        <pc:cxnChg chg="del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54" creationId="{39089A8A-764D-4690-9BDE-5F5345BEC505}"/>
          </ac:cxnSpMkLst>
        </pc:cxnChg>
        <pc:cxnChg chg="del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55" creationId="{59DACF06-0630-42F6-B580-8A96B5DB0C1A}"/>
          </ac:cxnSpMkLst>
        </pc:cxnChg>
        <pc:cxnChg chg="del 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57" creationId="{DC8508F1-57CF-4B80-A677-86E6776E78EF}"/>
          </ac:cxnSpMkLst>
        </pc:cxnChg>
        <pc:cxnChg chg="del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58" creationId="{81C56996-9783-4B8F-BA52-3000EFC63FD5}"/>
          </ac:cxnSpMkLst>
        </pc:cxnChg>
        <pc:cxnChg chg="del 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59" creationId="{380203DA-3D49-4B7C-87E1-8D139E2AC74F}"/>
          </ac:cxnSpMkLst>
        </pc:cxnChg>
        <pc:cxnChg chg="del 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60" creationId="{830DE265-E09D-4DD3-BC8C-9394E2182CCF}"/>
          </ac:cxnSpMkLst>
        </pc:cxnChg>
        <pc:cxnChg chg="del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67" creationId="{90A5D107-0F4A-4A9C-8B63-E3BC874D7217}"/>
          </ac:cxnSpMkLst>
        </pc:cxnChg>
        <pc:cxnChg chg="del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68" creationId="{6E977748-FCE5-4BEA-AE37-A65ACD5244A1}"/>
          </ac:cxnSpMkLst>
        </pc:cxnChg>
        <pc:cxnChg chg="del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69" creationId="{7E546549-25F8-46EE-8F79-1F75167884B8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77" creationId="{D59A4639-7A3A-472B-917D-00F6A954199D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78" creationId="{566C532B-C85F-4094-9DF8-2914588A36B1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79" creationId="{A80A9AD2-C41A-4DF1-A2F0-6903ED4FCE08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80" creationId="{6AA7CD94-04D3-41CC-88A0-D9613F0179F9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81" creationId="{1063F181-6929-43E1-B6D1-0DABB595F14A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82" creationId="{8F0752AE-9066-4A00-8B09-5DCC9F5DFAE2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88" creationId="{5E8CC7CF-3E40-4445-9105-4300558D243F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89" creationId="{2180BE73-E00F-4515-844D-532F6D4CA671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90" creationId="{85D96484-4E5D-47E2-81A3-D793C288E260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91" creationId="{767ADB5D-C846-4FE5-B726-425A7BA0B30D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92" creationId="{79497340-8894-4123-A188-919683A0760D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95" creationId="{0EAD885D-F6AD-4BFB-867B-45CEADF98CB4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96" creationId="{44D12449-8292-45F8-85CF-59E3C13B330B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101" creationId="{FDDD698D-F555-453D-900A-44747DD1F7CF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102" creationId="{773BE3F8-4D18-4C93-AC0B-CE43733A7401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103" creationId="{8C899DED-2059-4386-9BC8-F26EB8FD1AD9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108" creationId="{5857D638-ED5D-4624-A7E6-41CA468E1C6E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109" creationId="{E25F5B53-7082-4368-8D9D-4658A6433358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110" creationId="{BD9E0E68-969B-49FE-8AA6-C3B20B18BDD7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112" creationId="{0D79C179-1990-4121-995E-2ACF99B84A73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115" creationId="{C0990619-24E5-4A78-81B9-EC5D2008BAA4}"/>
          </ac:cxnSpMkLst>
        </pc:cxnChg>
        <pc:cxnChg chg="mod">
          <ac:chgData name="Elijah Boussaha" userId="0dc29535-6583-43fe-b6bd-d2b799c561d6" providerId="ADAL" clId="{538C233B-22F2-4B1C-B27E-F59B1EE2BA95}" dt="2024-10-09T08:02:42.109" v="50" actId="478"/>
          <ac:cxnSpMkLst>
            <pc:docMk/>
            <pc:sldMk cId="3597401650" sldId="2147480935"/>
            <ac:cxnSpMk id="116" creationId="{9ACD7DE0-A02E-4103-9C17-0CF88D4B7EA5}"/>
          </ac:cxnSpMkLst>
        </pc:cxnChg>
      </pc:sldChg>
      <pc:sldChg chg="addSp delSp modSp mod ord">
        <pc:chgData name="Elijah Boussaha" userId="0dc29535-6583-43fe-b6bd-d2b799c561d6" providerId="ADAL" clId="{538C233B-22F2-4B1C-B27E-F59B1EE2BA95}" dt="2024-10-10T07:19:40.659" v="1219"/>
        <pc:sldMkLst>
          <pc:docMk/>
          <pc:sldMk cId="1113193793" sldId="2147480936"/>
        </pc:sldMkLst>
        <pc:spChg chg="del">
          <ac:chgData name="Elijah Boussaha" userId="0dc29535-6583-43fe-b6bd-d2b799c561d6" providerId="ADAL" clId="{538C233B-22F2-4B1C-B27E-F59B1EE2BA95}" dt="2024-10-01T16:42:24.623" v="0" actId="478"/>
          <ac:spMkLst>
            <pc:docMk/>
            <pc:sldMk cId="1113193793" sldId="2147480936"/>
            <ac:spMk id="3" creationId="{C3E32F8B-CFFF-9F97-B194-B487E1D46BC0}"/>
          </ac:spMkLst>
        </pc:spChg>
        <pc:spChg chg="del">
          <ac:chgData name="Elijah Boussaha" userId="0dc29535-6583-43fe-b6bd-d2b799c561d6" providerId="ADAL" clId="{538C233B-22F2-4B1C-B27E-F59B1EE2BA95}" dt="2024-10-09T08:18:26.190" v="363" actId="478"/>
          <ac:spMkLst>
            <pc:docMk/>
            <pc:sldMk cId="1113193793" sldId="2147480936"/>
            <ac:spMk id="5" creationId="{342FFD82-D2A3-4C02-240F-1BD2AADB901C}"/>
          </ac:spMkLst>
        </pc:spChg>
        <pc:spChg chg="del">
          <ac:chgData name="Elijah Boussaha" userId="0dc29535-6583-43fe-b6bd-d2b799c561d6" providerId="ADAL" clId="{538C233B-22F2-4B1C-B27E-F59B1EE2BA95}" dt="2024-10-09T08:18:26.190" v="363" actId="478"/>
          <ac:spMkLst>
            <pc:docMk/>
            <pc:sldMk cId="1113193793" sldId="2147480936"/>
            <ac:spMk id="6" creationId="{A3F7F7F0-4218-0F62-6DB8-ABCCA9EEC8D6}"/>
          </ac:spMkLst>
        </pc:spChg>
        <pc:spChg chg="add mod">
          <ac:chgData name="Elijah Boussaha" userId="0dc29535-6583-43fe-b6bd-d2b799c561d6" providerId="ADAL" clId="{538C233B-22F2-4B1C-B27E-F59B1EE2BA95}" dt="2024-10-09T08:50:52.238" v="652" actId="20577"/>
          <ac:spMkLst>
            <pc:docMk/>
            <pc:sldMk cId="1113193793" sldId="2147480936"/>
            <ac:spMk id="16" creationId="{ED97FE02-5EA3-3CD3-E064-70407B890016}"/>
          </ac:spMkLst>
        </pc:spChg>
        <pc:spChg chg="add del">
          <ac:chgData name="Elijah Boussaha" userId="0dc29535-6583-43fe-b6bd-d2b799c561d6" providerId="ADAL" clId="{538C233B-22F2-4B1C-B27E-F59B1EE2BA95}" dt="2024-10-09T08:24:43.886" v="375" actId="22"/>
          <ac:spMkLst>
            <pc:docMk/>
            <pc:sldMk cId="1113193793" sldId="2147480936"/>
            <ac:spMk id="30" creationId="{FDAF3445-798D-829A-8139-B02176AB84DE}"/>
          </ac:spMkLst>
        </pc:spChg>
        <pc:spChg chg="add del mod">
          <ac:chgData name="Elijah Boussaha" userId="0dc29535-6583-43fe-b6bd-d2b799c561d6" providerId="ADAL" clId="{538C233B-22F2-4B1C-B27E-F59B1EE2BA95}" dt="2024-10-09T08:28:19.601" v="461" actId="478"/>
          <ac:spMkLst>
            <pc:docMk/>
            <pc:sldMk cId="1113193793" sldId="2147480936"/>
            <ac:spMk id="31" creationId="{4C3FD390-1C57-7276-44E6-B179892F23F3}"/>
          </ac:spMkLst>
        </pc:spChg>
        <pc:spChg chg="del">
          <ac:chgData name="Elijah Boussaha" userId="0dc29535-6583-43fe-b6bd-d2b799c561d6" providerId="ADAL" clId="{538C233B-22F2-4B1C-B27E-F59B1EE2BA95}" dt="2024-10-09T08:18:26.190" v="363" actId="478"/>
          <ac:spMkLst>
            <pc:docMk/>
            <pc:sldMk cId="1113193793" sldId="2147480936"/>
            <ac:spMk id="65" creationId="{6C2E7F84-590D-B42F-0103-A38CD02B360D}"/>
          </ac:spMkLst>
        </pc:spChg>
        <pc:spChg chg="del">
          <ac:chgData name="Elijah Boussaha" userId="0dc29535-6583-43fe-b6bd-d2b799c561d6" providerId="ADAL" clId="{538C233B-22F2-4B1C-B27E-F59B1EE2BA95}" dt="2024-10-09T08:18:26.190" v="363" actId="478"/>
          <ac:spMkLst>
            <pc:docMk/>
            <pc:sldMk cId="1113193793" sldId="2147480936"/>
            <ac:spMk id="66" creationId="{C2361E2A-8C12-3D04-99E6-2280BCDD7248}"/>
          </ac:spMkLst>
        </pc:spChg>
        <pc:spChg chg="del">
          <ac:chgData name="Elijah Boussaha" userId="0dc29535-6583-43fe-b6bd-d2b799c561d6" providerId="ADAL" clId="{538C233B-22F2-4B1C-B27E-F59B1EE2BA95}" dt="2024-10-09T08:18:28.838" v="365" actId="478"/>
          <ac:spMkLst>
            <pc:docMk/>
            <pc:sldMk cId="1113193793" sldId="2147480936"/>
            <ac:spMk id="68" creationId="{DEA3D3F9-6D90-F299-E46F-A2BC7682284F}"/>
          </ac:spMkLst>
        </pc:spChg>
        <pc:spChg chg="del">
          <ac:chgData name="Elijah Boussaha" userId="0dc29535-6583-43fe-b6bd-d2b799c561d6" providerId="ADAL" clId="{538C233B-22F2-4B1C-B27E-F59B1EE2BA95}" dt="2024-10-09T08:18:26.190" v="363" actId="478"/>
          <ac:spMkLst>
            <pc:docMk/>
            <pc:sldMk cId="1113193793" sldId="2147480936"/>
            <ac:spMk id="69" creationId="{FE5B3919-AE6B-BE72-EF1E-E565CE5A5440}"/>
          </ac:spMkLst>
        </pc:spChg>
        <pc:grpChg chg="del">
          <ac:chgData name="Elijah Boussaha" userId="0dc29535-6583-43fe-b6bd-d2b799c561d6" providerId="ADAL" clId="{538C233B-22F2-4B1C-B27E-F59B1EE2BA95}" dt="2024-10-09T08:18:26.190" v="363" actId="478"/>
          <ac:grpSpMkLst>
            <pc:docMk/>
            <pc:sldMk cId="1113193793" sldId="2147480936"/>
            <ac:grpSpMk id="7" creationId="{1894D5CE-7F54-9C6C-A5BA-256E5F1E65CB}"/>
          </ac:grpSpMkLst>
        </pc:grpChg>
        <pc:grpChg chg="del">
          <ac:chgData name="Elijah Boussaha" userId="0dc29535-6583-43fe-b6bd-d2b799c561d6" providerId="ADAL" clId="{538C233B-22F2-4B1C-B27E-F59B1EE2BA95}" dt="2024-10-09T08:18:26.190" v="363" actId="478"/>
          <ac:grpSpMkLst>
            <pc:docMk/>
            <pc:sldMk cId="1113193793" sldId="2147480936"/>
            <ac:grpSpMk id="53" creationId="{61D1384D-8B54-97D3-44F1-B04DA85794B2}"/>
          </ac:grpSpMkLst>
        </pc:grpChg>
        <pc:grpChg chg="del">
          <ac:chgData name="Elijah Boussaha" userId="0dc29535-6583-43fe-b6bd-d2b799c561d6" providerId="ADAL" clId="{538C233B-22F2-4B1C-B27E-F59B1EE2BA95}" dt="2024-10-09T08:18:26.190" v="363" actId="478"/>
          <ac:grpSpMkLst>
            <pc:docMk/>
            <pc:sldMk cId="1113193793" sldId="2147480936"/>
            <ac:grpSpMk id="56" creationId="{FA0B8984-3B8A-7F57-CAFA-F230CC73F21D}"/>
          </ac:grpSpMkLst>
        </pc:grpChg>
        <pc:graphicFrameChg chg="add mod">
          <ac:chgData name="Elijah Boussaha" userId="0dc29535-6583-43fe-b6bd-d2b799c561d6" providerId="ADAL" clId="{538C233B-22F2-4B1C-B27E-F59B1EE2BA95}" dt="2024-10-09T09:19:28.913" v="1118"/>
          <ac:graphicFrameMkLst>
            <pc:docMk/>
            <pc:sldMk cId="1113193793" sldId="2147480936"/>
            <ac:graphicFrameMk id="3" creationId="{12E508CA-73AA-0A30-596A-A64AFACA2C29}"/>
          </ac:graphicFrameMkLst>
        </pc:graphicFrameChg>
        <pc:graphicFrameChg chg="add mod">
          <ac:chgData name="Elijah Boussaha" userId="0dc29535-6583-43fe-b6bd-d2b799c561d6" providerId="ADAL" clId="{538C233B-22F2-4B1C-B27E-F59B1EE2BA95}" dt="2024-10-09T09:19:28.913" v="1118"/>
          <ac:graphicFrameMkLst>
            <pc:docMk/>
            <pc:sldMk cId="1113193793" sldId="2147480936"/>
            <ac:graphicFrameMk id="4" creationId="{B4EB6F09-30C2-8FAA-13AA-DF74EA9C8B5B}"/>
          </ac:graphicFrameMkLst>
        </pc:graphicFrameChg>
        <pc:graphicFrameChg chg="add mod">
          <ac:chgData name="Elijah Boussaha" userId="0dc29535-6583-43fe-b6bd-d2b799c561d6" providerId="ADAL" clId="{538C233B-22F2-4B1C-B27E-F59B1EE2BA95}" dt="2024-10-09T09:19:28.913" v="1118"/>
          <ac:graphicFrameMkLst>
            <pc:docMk/>
            <pc:sldMk cId="1113193793" sldId="2147480936"/>
            <ac:graphicFrameMk id="5" creationId="{CAF11987-75E5-CFA1-8C3F-DD2C86B4010E}"/>
          </ac:graphicFrameMkLst>
        </pc:graphicFrameChg>
        <pc:graphicFrameChg chg="add mod">
          <ac:chgData name="Elijah Boussaha" userId="0dc29535-6583-43fe-b6bd-d2b799c561d6" providerId="ADAL" clId="{538C233B-22F2-4B1C-B27E-F59B1EE2BA95}" dt="2024-10-09T09:19:28.913" v="1118"/>
          <ac:graphicFrameMkLst>
            <pc:docMk/>
            <pc:sldMk cId="1113193793" sldId="2147480936"/>
            <ac:graphicFrameMk id="6" creationId="{785563A8-DE0D-A97A-60AC-58335816E1B9}"/>
          </ac:graphicFrameMkLst>
        </pc:graphicFrameChg>
        <pc:graphicFrameChg chg="add mod">
          <ac:chgData name="Elijah Boussaha" userId="0dc29535-6583-43fe-b6bd-d2b799c561d6" providerId="ADAL" clId="{538C233B-22F2-4B1C-B27E-F59B1EE2BA95}" dt="2024-10-09T09:19:32.202" v="1120"/>
          <ac:graphicFrameMkLst>
            <pc:docMk/>
            <pc:sldMk cId="1113193793" sldId="2147480936"/>
            <ac:graphicFrameMk id="7" creationId="{464BC582-72CF-78E9-6CB9-B7F46FEAD947}"/>
          </ac:graphicFrameMkLst>
        </pc:graphicFrameChg>
        <pc:graphicFrameChg chg="add mod">
          <ac:chgData name="Elijah Boussaha" userId="0dc29535-6583-43fe-b6bd-d2b799c561d6" providerId="ADAL" clId="{538C233B-22F2-4B1C-B27E-F59B1EE2BA95}" dt="2024-10-09T09:19:32.202" v="1120"/>
          <ac:graphicFrameMkLst>
            <pc:docMk/>
            <pc:sldMk cId="1113193793" sldId="2147480936"/>
            <ac:graphicFrameMk id="8" creationId="{B5AD23A1-5171-A503-0DAE-72206F2D3E49}"/>
          </ac:graphicFrameMkLst>
        </pc:graphicFrameChg>
        <pc:graphicFrameChg chg="add mod">
          <ac:chgData name="Elijah Boussaha" userId="0dc29535-6583-43fe-b6bd-d2b799c561d6" providerId="ADAL" clId="{538C233B-22F2-4B1C-B27E-F59B1EE2BA95}" dt="2024-10-09T09:19:32.202" v="1120"/>
          <ac:graphicFrameMkLst>
            <pc:docMk/>
            <pc:sldMk cId="1113193793" sldId="2147480936"/>
            <ac:graphicFrameMk id="9" creationId="{901AA2F7-576B-C2AA-579F-19018B58812E}"/>
          </ac:graphicFrameMkLst>
        </pc:graphicFrameChg>
        <pc:graphicFrameChg chg="add mod">
          <ac:chgData name="Elijah Boussaha" userId="0dc29535-6583-43fe-b6bd-d2b799c561d6" providerId="ADAL" clId="{538C233B-22F2-4B1C-B27E-F59B1EE2BA95}" dt="2024-10-09T09:19:32.202" v="1120"/>
          <ac:graphicFrameMkLst>
            <pc:docMk/>
            <pc:sldMk cId="1113193793" sldId="2147480936"/>
            <ac:graphicFrameMk id="10" creationId="{32EF2565-2864-ADD8-8858-0345C65FB331}"/>
          </ac:graphicFrameMkLst>
        </pc:graphicFrameChg>
        <pc:graphicFrameChg chg="add mod modGraphic">
          <ac:chgData name="Elijah Boussaha" userId="0dc29535-6583-43fe-b6bd-d2b799c561d6" providerId="ADAL" clId="{538C233B-22F2-4B1C-B27E-F59B1EE2BA95}" dt="2024-10-10T07:19:40.659" v="1219"/>
          <ac:graphicFrameMkLst>
            <pc:docMk/>
            <pc:sldMk cId="1113193793" sldId="2147480936"/>
            <ac:graphicFrameMk id="11" creationId="{8AF0DB88-C2B5-2BE3-49B1-D0C2ED1DFB49}"/>
          </ac:graphicFrameMkLst>
        </pc:graphicFrameChg>
        <pc:graphicFrameChg chg="add del mod modGraphic">
          <ac:chgData name="Elijah Boussaha" userId="0dc29535-6583-43fe-b6bd-d2b799c561d6" providerId="ADAL" clId="{538C233B-22F2-4B1C-B27E-F59B1EE2BA95}" dt="2024-10-09T09:19:38.693" v="1121" actId="478"/>
          <ac:graphicFrameMkLst>
            <pc:docMk/>
            <pc:sldMk cId="1113193793" sldId="2147480936"/>
            <ac:graphicFrameMk id="35" creationId="{00DB1D4D-3C47-BCA2-371B-820BB91C79E9}"/>
          </ac:graphicFrameMkLst>
        </pc:graphicFrameChg>
        <pc:picChg chg="del">
          <ac:chgData name="Elijah Boussaha" userId="0dc29535-6583-43fe-b6bd-d2b799c561d6" providerId="ADAL" clId="{538C233B-22F2-4B1C-B27E-F59B1EE2BA95}" dt="2024-10-09T08:18:26.190" v="363" actId="478"/>
          <ac:picMkLst>
            <pc:docMk/>
            <pc:sldMk cId="1113193793" sldId="2147480936"/>
            <ac:picMk id="4" creationId="{D61C5D66-E466-C1DC-B7AF-E86FEEFC07A4}"/>
          </ac:picMkLst>
        </pc:picChg>
        <pc:picChg chg="add del mod">
          <ac:chgData name="Elijah Boussaha" userId="0dc29535-6583-43fe-b6bd-d2b799c561d6" providerId="ADAL" clId="{538C233B-22F2-4B1C-B27E-F59B1EE2BA95}" dt="2024-10-09T08:19:58.878" v="373" actId="478"/>
          <ac:picMkLst>
            <pc:docMk/>
            <pc:sldMk cId="1113193793" sldId="2147480936"/>
            <ac:picMk id="17" creationId="{1E2C0E95-C78D-943B-F118-99234C27D45C}"/>
          </ac:picMkLst>
        </pc:picChg>
        <pc:picChg chg="del">
          <ac:chgData name="Elijah Boussaha" userId="0dc29535-6583-43fe-b6bd-d2b799c561d6" providerId="ADAL" clId="{538C233B-22F2-4B1C-B27E-F59B1EE2BA95}" dt="2024-10-09T08:18:27.917" v="364" actId="478"/>
          <ac:picMkLst>
            <pc:docMk/>
            <pc:sldMk cId="1113193793" sldId="2147480936"/>
            <ac:picMk id="74" creationId="{F6211067-4EA7-62C8-F669-96D3FB7FB5FE}"/>
          </ac:picMkLst>
        </pc:picChg>
        <pc:cxnChg chg="mod">
          <ac:chgData name="Elijah Boussaha" userId="0dc29535-6583-43fe-b6bd-d2b799c561d6" providerId="ADAL" clId="{538C233B-22F2-4B1C-B27E-F59B1EE2BA95}" dt="2024-10-09T08:18:26.190" v="363" actId="478"/>
          <ac:cxnSpMkLst>
            <pc:docMk/>
            <pc:sldMk cId="1113193793" sldId="2147480936"/>
            <ac:cxnSpMk id="11" creationId="{734B514D-903F-BC9A-DA3F-9C24049D3F74}"/>
          </ac:cxnSpMkLst>
        </pc:cxnChg>
        <pc:cxnChg chg="mod">
          <ac:chgData name="Elijah Boussaha" userId="0dc29535-6583-43fe-b6bd-d2b799c561d6" providerId="ADAL" clId="{538C233B-22F2-4B1C-B27E-F59B1EE2BA95}" dt="2024-10-09T08:18:26.190" v="363" actId="478"/>
          <ac:cxnSpMkLst>
            <pc:docMk/>
            <pc:sldMk cId="1113193793" sldId="2147480936"/>
            <ac:cxnSpMk id="15" creationId="{8FF9CB04-B370-C731-39F1-1CBB6A98987A}"/>
          </ac:cxnSpMkLst>
        </pc:cxnChg>
      </pc:sldChg>
      <pc:sldChg chg="addSp delSp modSp mod">
        <pc:chgData name="Elijah Boussaha" userId="0dc29535-6583-43fe-b6bd-d2b799c561d6" providerId="ADAL" clId="{538C233B-22F2-4B1C-B27E-F59B1EE2BA95}" dt="2024-10-10T07:22:54.847" v="1484" actId="20577"/>
        <pc:sldMkLst>
          <pc:docMk/>
          <pc:sldMk cId="2001324022" sldId="2147480947"/>
        </pc:sldMkLst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4" creationId="{7E5E1186-F06C-4369-5A70-5F6F7E3AB816}"/>
          </ac:spMkLst>
        </pc:spChg>
        <pc:spChg chg="add del mod">
          <ac:chgData name="Elijah Boussaha" userId="0dc29535-6583-43fe-b6bd-d2b799c561d6" providerId="ADAL" clId="{538C233B-22F2-4B1C-B27E-F59B1EE2BA95}" dt="2024-10-09T08:46:34.603" v="573" actId="478"/>
          <ac:spMkLst>
            <pc:docMk/>
            <pc:sldMk cId="2001324022" sldId="2147480947"/>
            <ac:spMk id="5" creationId="{0F89DF0C-171B-4A0D-73D4-283C137E7C8F}"/>
          </ac:spMkLst>
        </pc:spChg>
        <pc:spChg chg="mod">
          <ac:chgData name="Elijah Boussaha" userId="0dc29535-6583-43fe-b6bd-d2b799c561d6" providerId="ADAL" clId="{538C233B-22F2-4B1C-B27E-F59B1EE2BA95}" dt="2024-10-09T08:51:22.199" v="708" actId="20577"/>
          <ac:spMkLst>
            <pc:docMk/>
            <pc:sldMk cId="2001324022" sldId="2147480947"/>
            <ac:spMk id="6" creationId="{E59BE412-85DD-E3F1-A722-5CB1DEC04156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7" creationId="{5872436D-CAF5-C26D-59E8-172A77941D8F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8" creationId="{4128C778-F8B9-274E-015B-0C181FAFA92B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10" creationId="{B6A90921-981C-6797-8338-5343D52C65E8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16" creationId="{E289CB77-0AB8-2A67-934E-CCD43B4FDB75}"/>
          </ac:spMkLst>
        </pc:spChg>
        <pc:spChg chg="del mod">
          <ac:chgData name="Elijah Boussaha" userId="0dc29535-6583-43fe-b6bd-d2b799c561d6" providerId="ADAL" clId="{538C233B-22F2-4B1C-B27E-F59B1EE2BA95}" dt="2024-10-09T08:40:11.268" v="515" actId="478"/>
          <ac:spMkLst>
            <pc:docMk/>
            <pc:sldMk cId="2001324022" sldId="2147480947"/>
            <ac:spMk id="20" creationId="{15D1E8E1-9E84-038F-7DCD-4BEE5C243AB3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21" creationId="{83773EA3-7A6D-7E03-0D88-C072E136F52E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27" creationId="{CC9D5FEE-C245-A4D1-527D-7F84738F6E6C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28" creationId="{E893EAFA-702B-F7ED-351A-4AF2C61D37B1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29" creationId="{18C7500C-69F7-8BF7-24A5-07DF760BABEF}"/>
          </ac:spMkLst>
        </pc:spChg>
        <pc:spChg chg="del mod">
          <ac:chgData name="Elijah Boussaha" userId="0dc29535-6583-43fe-b6bd-d2b799c561d6" providerId="ADAL" clId="{538C233B-22F2-4B1C-B27E-F59B1EE2BA95}" dt="2024-10-09T08:40:13.133" v="517" actId="478"/>
          <ac:spMkLst>
            <pc:docMk/>
            <pc:sldMk cId="2001324022" sldId="2147480947"/>
            <ac:spMk id="30" creationId="{86C93F0E-DD00-FF6C-A34C-D7F1AEABB1C3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32" creationId="{4C30AB9C-38DA-6585-D6A6-AC9AAD1BDD78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33" creationId="{D6830B6F-1D70-AE61-7FB9-CD66171AD559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34" creationId="{C3DB1DCF-3EB5-9143-BBB9-E035E8149DCF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35" creationId="{64364E32-F9A8-EC01-3885-C33EF8C15042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41" creationId="{3A726336-C24C-90AE-5B7F-30D9CD3CDBBD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43" creationId="{BF76FAF4-FD7B-C882-ED83-ADA1A7EE432E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44" creationId="{C149538F-DAA3-20EA-96B3-E32AC8EF43E0}"/>
          </ac:spMkLst>
        </pc:spChg>
        <pc:spChg chg="del">
          <ac:chgData name="Elijah Boussaha" userId="0dc29535-6583-43fe-b6bd-d2b799c561d6" providerId="ADAL" clId="{538C233B-22F2-4B1C-B27E-F59B1EE2BA95}" dt="2024-10-09T08:39:51.742" v="507" actId="478"/>
          <ac:spMkLst>
            <pc:docMk/>
            <pc:sldMk cId="2001324022" sldId="2147480947"/>
            <ac:spMk id="53" creationId="{CE8CF54D-14AB-332A-F177-208E1565E547}"/>
          </ac:spMkLst>
        </pc:spChg>
        <pc:graphicFrameChg chg="add del mod modGraphic">
          <ac:chgData name="Elijah Boussaha" userId="0dc29535-6583-43fe-b6bd-d2b799c561d6" providerId="ADAL" clId="{538C233B-22F2-4B1C-B27E-F59B1EE2BA95}" dt="2024-10-09T08:51:26.308" v="709" actId="478"/>
          <ac:graphicFrameMkLst>
            <pc:docMk/>
            <pc:sldMk cId="2001324022" sldId="2147480947"/>
            <ac:graphicFrameMk id="9" creationId="{8979BC0B-A998-D89B-DC8B-FBFD49769097}"/>
          </ac:graphicFrameMkLst>
        </pc:graphicFrameChg>
        <pc:graphicFrameChg chg="add mod modGraphic">
          <ac:chgData name="Elijah Boussaha" userId="0dc29535-6583-43fe-b6bd-d2b799c561d6" providerId="ADAL" clId="{538C233B-22F2-4B1C-B27E-F59B1EE2BA95}" dt="2024-10-10T07:22:54.847" v="1484" actId="20577"/>
          <ac:graphicFrameMkLst>
            <pc:docMk/>
            <pc:sldMk cId="2001324022" sldId="2147480947"/>
            <ac:graphicFrameMk id="11" creationId="{E6533CFF-6BDD-B44C-9B33-7A21884AE759}"/>
          </ac:graphicFrameMkLst>
        </pc:graphicFrameChg>
        <pc:cxnChg chg="del">
          <ac:chgData name="Elijah Boussaha" userId="0dc29535-6583-43fe-b6bd-d2b799c561d6" providerId="ADAL" clId="{538C233B-22F2-4B1C-B27E-F59B1EE2BA95}" dt="2024-10-09T08:39:51.742" v="507" actId="478"/>
          <ac:cxnSpMkLst>
            <pc:docMk/>
            <pc:sldMk cId="2001324022" sldId="2147480947"/>
            <ac:cxnSpMk id="47" creationId="{824D6684-0329-C9C8-B53B-98D9AF070A49}"/>
          </ac:cxnSpMkLst>
        </pc:cxnChg>
        <pc:cxnChg chg="del">
          <ac:chgData name="Elijah Boussaha" userId="0dc29535-6583-43fe-b6bd-d2b799c561d6" providerId="ADAL" clId="{538C233B-22F2-4B1C-B27E-F59B1EE2BA95}" dt="2024-10-09T08:39:51.742" v="507" actId="478"/>
          <ac:cxnSpMkLst>
            <pc:docMk/>
            <pc:sldMk cId="2001324022" sldId="2147480947"/>
            <ac:cxnSpMk id="48" creationId="{2D0B2C0F-C500-18F1-005F-1980B122225B}"/>
          </ac:cxnSpMkLst>
        </pc:cxnChg>
        <pc:cxnChg chg="del">
          <ac:chgData name="Elijah Boussaha" userId="0dc29535-6583-43fe-b6bd-d2b799c561d6" providerId="ADAL" clId="{538C233B-22F2-4B1C-B27E-F59B1EE2BA95}" dt="2024-10-09T08:39:51.742" v="507" actId="478"/>
          <ac:cxnSpMkLst>
            <pc:docMk/>
            <pc:sldMk cId="2001324022" sldId="2147480947"/>
            <ac:cxnSpMk id="49" creationId="{9B5DD0AD-F96B-3828-BAF7-0CD5619D7846}"/>
          </ac:cxnSpMkLst>
        </pc:cxnChg>
        <pc:cxnChg chg="del">
          <ac:chgData name="Elijah Boussaha" userId="0dc29535-6583-43fe-b6bd-d2b799c561d6" providerId="ADAL" clId="{538C233B-22F2-4B1C-B27E-F59B1EE2BA95}" dt="2024-10-09T08:39:51.742" v="507" actId="478"/>
          <ac:cxnSpMkLst>
            <pc:docMk/>
            <pc:sldMk cId="2001324022" sldId="2147480947"/>
            <ac:cxnSpMk id="50" creationId="{3EF34178-C42A-53B5-4B76-6C3F3B4AF513}"/>
          </ac:cxnSpMkLst>
        </pc:cxnChg>
      </pc:sldChg>
      <pc:sldChg chg="del">
        <pc:chgData name="Elijah Boussaha" userId="0dc29535-6583-43fe-b6bd-d2b799c561d6" providerId="ADAL" clId="{538C233B-22F2-4B1C-B27E-F59B1EE2BA95}" dt="2024-10-09T07:56:36.747" v="10" actId="47"/>
        <pc:sldMkLst>
          <pc:docMk/>
          <pc:sldMk cId="1311543527" sldId="2147480998"/>
        </pc:sldMkLst>
      </pc:sldChg>
      <pc:sldChg chg="addSp delSp modSp mod">
        <pc:chgData name="Elijah Boussaha" userId="0dc29535-6583-43fe-b6bd-d2b799c561d6" providerId="ADAL" clId="{538C233B-22F2-4B1C-B27E-F59B1EE2BA95}" dt="2024-10-10T07:45:09.639" v="1489" actId="22"/>
        <pc:sldMkLst>
          <pc:docMk/>
          <pc:sldMk cId="2647510806" sldId="2147481005"/>
        </pc:sldMkLst>
        <pc:spChg chg="add del mod">
          <ac:chgData name="Elijah Boussaha" userId="0dc29535-6583-43fe-b6bd-d2b799c561d6" providerId="ADAL" clId="{538C233B-22F2-4B1C-B27E-F59B1EE2BA95}" dt="2024-10-10T07:45:04.727" v="1487" actId="478"/>
          <ac:spMkLst>
            <pc:docMk/>
            <pc:sldMk cId="2647510806" sldId="2147481005"/>
            <ac:spMk id="3" creationId="{32696EE1-09BD-4273-9C1F-073D9675150D}"/>
          </ac:spMkLst>
        </pc:spChg>
        <pc:spChg chg="mod">
          <ac:chgData name="Elijah Boussaha" userId="0dc29535-6583-43fe-b6bd-d2b799c561d6" providerId="ADAL" clId="{538C233B-22F2-4B1C-B27E-F59B1EE2BA95}" dt="2024-10-09T08:46:10.585" v="571" actId="20577"/>
          <ac:spMkLst>
            <pc:docMk/>
            <pc:sldMk cId="2647510806" sldId="2147481005"/>
            <ac:spMk id="23" creationId="{6A8CDEFE-8D1B-4B7B-A0A8-6DCA2ABAB268}"/>
          </ac:spMkLst>
        </pc:spChg>
        <pc:picChg chg="add del">
          <ac:chgData name="Elijah Boussaha" userId="0dc29535-6583-43fe-b6bd-d2b799c561d6" providerId="ADAL" clId="{538C233B-22F2-4B1C-B27E-F59B1EE2BA95}" dt="2024-10-10T07:45:09.639" v="1489" actId="22"/>
          <ac:picMkLst>
            <pc:docMk/>
            <pc:sldMk cId="2647510806" sldId="2147481005"/>
            <ac:picMk id="5" creationId="{D61D07AD-88F4-2C53-D690-7B19487C74A1}"/>
          </ac:picMkLst>
        </pc:picChg>
      </pc:sldChg>
      <pc:sldChg chg="modSp add mod ord">
        <pc:chgData name="Elijah Boussaha" userId="0dc29535-6583-43fe-b6bd-d2b799c561d6" providerId="ADAL" clId="{538C233B-22F2-4B1C-B27E-F59B1EE2BA95}" dt="2024-10-09T08:40:26.232" v="535"/>
        <pc:sldMkLst>
          <pc:docMk/>
          <pc:sldMk cId="4294712048" sldId="2147481006"/>
        </pc:sldMkLst>
        <pc:spChg chg="mod">
          <ac:chgData name="Elijah Boussaha" userId="0dc29535-6583-43fe-b6bd-d2b799c561d6" providerId="ADAL" clId="{538C233B-22F2-4B1C-B27E-F59B1EE2BA95}" dt="2024-10-09T08:17:49.530" v="313" actId="20577"/>
          <ac:spMkLst>
            <pc:docMk/>
            <pc:sldMk cId="4294712048" sldId="2147481006"/>
            <ac:spMk id="3" creationId="{D9A3EED6-539B-46B8-B572-CE4E9A70B6F9}"/>
          </ac:spMkLst>
        </pc:spChg>
        <pc:spChg chg="mod">
          <ac:chgData name="Elijah Boussaha" userId="0dc29535-6583-43fe-b6bd-d2b799c561d6" providerId="ADAL" clId="{538C233B-22F2-4B1C-B27E-F59B1EE2BA95}" dt="2024-10-09T08:39:43.950" v="506" actId="20577"/>
          <ac:spMkLst>
            <pc:docMk/>
            <pc:sldMk cId="4294712048" sldId="2147481006"/>
            <ac:spMk id="80" creationId="{EFCDDFCC-0FFC-E54D-9108-EC297C63A32C}"/>
          </ac:spMkLst>
        </pc:spChg>
      </pc:sldChg>
      <pc:sldChg chg="addSp delSp modSp add mod">
        <pc:chgData name="Elijah Boussaha" userId="0dc29535-6583-43fe-b6bd-d2b799c561d6" providerId="ADAL" clId="{538C233B-22F2-4B1C-B27E-F59B1EE2BA95}" dt="2024-10-10T07:46:53.696" v="1527" actId="1076"/>
        <pc:sldMkLst>
          <pc:docMk/>
          <pc:sldMk cId="3450674325" sldId="2147481007"/>
        </pc:sldMkLst>
        <pc:spChg chg="mod">
          <ac:chgData name="Elijah Boussaha" userId="0dc29535-6583-43fe-b6bd-d2b799c561d6" providerId="ADAL" clId="{538C233B-22F2-4B1C-B27E-F59B1EE2BA95}" dt="2024-10-10T07:45:19.742" v="1506" actId="20577"/>
          <ac:spMkLst>
            <pc:docMk/>
            <pc:sldMk cId="3450674325" sldId="2147481007"/>
            <ac:spMk id="2" creationId="{6B01A7B2-6580-0708-3A2F-40E333E5AAD5}"/>
          </ac:spMkLst>
        </pc:spChg>
        <pc:spChg chg="add mod">
          <ac:chgData name="Elijah Boussaha" userId="0dc29535-6583-43fe-b6bd-d2b799c561d6" providerId="ADAL" clId="{538C233B-22F2-4B1C-B27E-F59B1EE2BA95}" dt="2024-10-10T07:46:53.696" v="1527" actId="1076"/>
          <ac:spMkLst>
            <pc:docMk/>
            <pc:sldMk cId="3450674325" sldId="2147481007"/>
            <ac:spMk id="3" creationId="{FC35E12D-4F01-AD28-5FD3-8CE74AD0F4F4}"/>
          </ac:spMkLst>
        </pc:spChg>
        <pc:spChg chg="add mod">
          <ac:chgData name="Elijah Boussaha" userId="0dc29535-6583-43fe-b6bd-d2b799c561d6" providerId="ADAL" clId="{538C233B-22F2-4B1C-B27E-F59B1EE2BA95}" dt="2024-10-10T07:46:39.594" v="1522" actId="1076"/>
          <ac:spMkLst>
            <pc:docMk/>
            <pc:sldMk cId="3450674325" sldId="2147481007"/>
            <ac:spMk id="5" creationId="{34BA39FB-9D40-D3D6-DF61-79EA27A9AC68}"/>
          </ac:spMkLst>
        </pc:spChg>
        <pc:spChg chg="mod">
          <ac:chgData name="Elijah Boussaha" userId="0dc29535-6583-43fe-b6bd-d2b799c561d6" providerId="ADAL" clId="{538C233B-22F2-4B1C-B27E-F59B1EE2BA95}" dt="2024-10-10T07:45:44.981" v="1512" actId="20577"/>
          <ac:spMkLst>
            <pc:docMk/>
            <pc:sldMk cId="3450674325" sldId="2147481007"/>
            <ac:spMk id="13" creationId="{B9D16AED-3891-43AE-8D42-2CEF71172705}"/>
          </ac:spMkLst>
        </pc:spChg>
        <pc:spChg chg="del">
          <ac:chgData name="Elijah Boussaha" userId="0dc29535-6583-43fe-b6bd-d2b799c561d6" providerId="ADAL" clId="{538C233B-22F2-4B1C-B27E-F59B1EE2BA95}" dt="2024-10-10T07:45:24.576" v="1507" actId="478"/>
          <ac:spMkLst>
            <pc:docMk/>
            <pc:sldMk cId="3450674325" sldId="2147481007"/>
            <ac:spMk id="23" creationId="{6A8CDEFE-8D1B-4B7B-A0A8-6DCA2ABAB268}"/>
          </ac:spMkLst>
        </pc:spChg>
        <pc:picChg chg="del">
          <ac:chgData name="Elijah Boussaha" userId="0dc29535-6583-43fe-b6bd-d2b799c561d6" providerId="ADAL" clId="{538C233B-22F2-4B1C-B27E-F59B1EE2BA95}" dt="2024-10-10T07:45:25.373" v="1508" actId="478"/>
          <ac:picMkLst>
            <pc:docMk/>
            <pc:sldMk cId="3450674325" sldId="2147481007"/>
            <ac:picMk id="14" creationId="{80AAE744-57A6-4000-944C-27E0DB9EB9B6}"/>
          </ac:picMkLst>
        </pc:picChg>
      </pc:sldChg>
      <pc:sldChg chg="addSp delSp modSp add mod">
        <pc:chgData name="Elijah Boussaha" userId="0dc29535-6583-43fe-b6bd-d2b799c561d6" providerId="ADAL" clId="{538C233B-22F2-4B1C-B27E-F59B1EE2BA95}" dt="2024-10-10T07:57:17.028" v="1747" actId="20577"/>
        <pc:sldMkLst>
          <pc:docMk/>
          <pc:sldMk cId="3575899221" sldId="2147481008"/>
        </pc:sldMkLst>
        <pc:spChg chg="mod">
          <ac:chgData name="Elijah Boussaha" userId="0dc29535-6583-43fe-b6bd-d2b799c561d6" providerId="ADAL" clId="{538C233B-22F2-4B1C-B27E-F59B1EE2BA95}" dt="2024-10-10T07:56:44.624" v="1742" actId="404"/>
          <ac:spMkLst>
            <pc:docMk/>
            <pc:sldMk cId="3575899221" sldId="2147481008"/>
            <ac:spMk id="4" creationId="{F7EA82B3-4240-D353-D7F8-83AD11DB3092}"/>
          </ac:spMkLst>
        </pc:spChg>
        <pc:spChg chg="del">
          <ac:chgData name="Elijah Boussaha" userId="0dc29535-6583-43fe-b6bd-d2b799c561d6" providerId="ADAL" clId="{538C233B-22F2-4B1C-B27E-F59B1EE2BA95}" dt="2024-10-10T07:52:06.335" v="1530" actId="478"/>
          <ac:spMkLst>
            <pc:docMk/>
            <pc:sldMk cId="3575899221" sldId="2147481008"/>
            <ac:spMk id="290" creationId="{9ECD199C-4E48-3D99-64FD-589FCFA1E6DC}"/>
          </ac:spMkLst>
        </pc:spChg>
        <pc:graphicFrameChg chg="add mod modGraphic">
          <ac:chgData name="Elijah Boussaha" userId="0dc29535-6583-43fe-b6bd-d2b799c561d6" providerId="ADAL" clId="{538C233B-22F2-4B1C-B27E-F59B1EE2BA95}" dt="2024-10-10T07:57:17.028" v="1747" actId="20577"/>
          <ac:graphicFrameMkLst>
            <pc:docMk/>
            <pc:sldMk cId="3575899221" sldId="2147481008"/>
            <ac:graphicFrameMk id="5" creationId="{C4386EE6-4DFB-4987-8C10-CB21F965650F}"/>
          </ac:graphicFrameMkLst>
        </pc:graphicFrameChg>
        <pc:picChg chg="del">
          <ac:chgData name="Elijah Boussaha" userId="0dc29535-6583-43fe-b6bd-d2b799c561d6" providerId="ADAL" clId="{538C233B-22F2-4B1C-B27E-F59B1EE2BA95}" dt="2024-10-10T07:52:04.927" v="1529" actId="478"/>
          <ac:picMkLst>
            <pc:docMk/>
            <pc:sldMk cId="3575899221" sldId="2147481008"/>
            <ac:picMk id="286" creationId="{4399F07F-E431-9168-4A02-F4FB7EE43313}"/>
          </ac:picMkLst>
        </pc:picChg>
      </pc:sldChg>
    </pc:docChg>
  </pc:docChgLst>
</pc:chgInfo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image" Target="../media/image20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image" Target="../media/image2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480DAEC-3E7C-498B-B5E3-8D648B7F1CBB}" type="doc">
      <dgm:prSet loTypeId="urn:microsoft.com/office/officeart/2005/8/layout/radial1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726544AD-5F43-4A4C-8D87-C7CA9FBED385}">
      <dgm:prSet phldrT="[Texte]"/>
      <dgm:spPr/>
      <dgm:t>
        <a:bodyPr/>
        <a:lstStyle/>
        <a:p>
          <a:r>
            <a:rPr lang="fr-FR" dirty="0"/>
            <a:t>SUPPLY </a:t>
          </a:r>
          <a:r>
            <a:rPr lang="fr-FR"/>
            <a:t>CHAIN OPTIMIZATION</a:t>
          </a:r>
          <a:endParaRPr lang="fr-FR" dirty="0"/>
        </a:p>
      </dgm:t>
    </dgm:pt>
    <dgm:pt modelId="{59FEBDC2-A486-4C4F-8FBB-C30E7CC487A9}" type="parTrans" cxnId="{DBBC684F-1FF3-4939-91B5-EE7368C5CEDE}">
      <dgm:prSet/>
      <dgm:spPr/>
      <dgm:t>
        <a:bodyPr/>
        <a:lstStyle/>
        <a:p>
          <a:endParaRPr lang="fr-FR"/>
        </a:p>
      </dgm:t>
    </dgm:pt>
    <dgm:pt modelId="{71C65194-6A37-41E5-B99D-AF44FF8FD0DE}" type="sibTrans" cxnId="{DBBC684F-1FF3-4939-91B5-EE7368C5CEDE}">
      <dgm:prSet/>
      <dgm:spPr/>
      <dgm:t>
        <a:bodyPr/>
        <a:lstStyle/>
        <a:p>
          <a:endParaRPr lang="fr-FR"/>
        </a:p>
      </dgm:t>
    </dgm:pt>
    <dgm:pt modelId="{DB3447C1-522A-4812-8396-2DAE1B9D1D71}">
      <dgm:prSet phldrT="[Texte]"/>
      <dgm:spPr/>
      <dgm:t>
        <a:bodyPr/>
        <a:lstStyle/>
        <a:p>
          <a:r>
            <a:rPr lang="fr-FR" dirty="0"/>
            <a:t>Rationalisation des outils de commande</a:t>
          </a:r>
        </a:p>
      </dgm:t>
    </dgm:pt>
    <dgm:pt modelId="{F7793699-6D3E-450D-9DBD-97101F034027}" type="parTrans" cxnId="{D7062A91-49A7-499A-AF34-9FABA58E71DE}">
      <dgm:prSet/>
      <dgm:spPr/>
      <dgm:t>
        <a:bodyPr/>
        <a:lstStyle/>
        <a:p>
          <a:endParaRPr lang="fr-FR"/>
        </a:p>
      </dgm:t>
    </dgm:pt>
    <dgm:pt modelId="{61F3E8A6-6B96-4CF6-A349-9D8E4D3B85C3}" type="sibTrans" cxnId="{D7062A91-49A7-499A-AF34-9FABA58E71DE}">
      <dgm:prSet/>
      <dgm:spPr/>
      <dgm:t>
        <a:bodyPr/>
        <a:lstStyle/>
        <a:p>
          <a:endParaRPr lang="fr-FR"/>
        </a:p>
      </dgm:t>
    </dgm:pt>
    <dgm:pt modelId="{C4A65641-7B7E-4A46-B465-A646DE2D1D3F}">
      <dgm:prSet phldrT="[Texte]"/>
      <dgm:spPr/>
      <dgm:t>
        <a:bodyPr/>
        <a:lstStyle/>
        <a:p>
          <a:r>
            <a:rPr lang="fr-FR" dirty="0"/>
            <a:t>Activation des fonctionnalités MRP,ATP</a:t>
          </a:r>
        </a:p>
      </dgm:t>
    </dgm:pt>
    <dgm:pt modelId="{626D454E-ECC9-4D17-A2EF-C60820A47D95}" type="parTrans" cxnId="{91E4CF2B-6C69-43C7-90C2-FDF2C7C1C5F5}">
      <dgm:prSet/>
      <dgm:spPr/>
      <dgm:t>
        <a:bodyPr/>
        <a:lstStyle/>
        <a:p>
          <a:endParaRPr lang="fr-FR"/>
        </a:p>
      </dgm:t>
    </dgm:pt>
    <dgm:pt modelId="{2416BFCB-5556-406C-B26F-2AE2B211169C}" type="sibTrans" cxnId="{91E4CF2B-6C69-43C7-90C2-FDF2C7C1C5F5}">
      <dgm:prSet/>
      <dgm:spPr/>
      <dgm:t>
        <a:bodyPr/>
        <a:lstStyle/>
        <a:p>
          <a:endParaRPr lang="fr-FR"/>
        </a:p>
      </dgm:t>
    </dgm:pt>
    <dgm:pt modelId="{BE34D7F9-FC4F-457E-AA7A-334D86E5F05E}">
      <dgm:prSet phldrT="[Texte]"/>
      <dgm:spPr/>
      <dgm:t>
        <a:bodyPr/>
        <a:lstStyle/>
        <a:p>
          <a:r>
            <a:rPr lang="fr-FR" dirty="0"/>
            <a:t>Maturité sur les process standards</a:t>
          </a:r>
        </a:p>
      </dgm:t>
    </dgm:pt>
    <dgm:pt modelId="{E916C388-7870-4E41-A237-8852F68F3C16}" type="parTrans" cxnId="{A321A6A8-4ED7-4058-AE7F-D844EC4F3C81}">
      <dgm:prSet/>
      <dgm:spPr/>
      <dgm:t>
        <a:bodyPr/>
        <a:lstStyle/>
        <a:p>
          <a:endParaRPr lang="fr-FR"/>
        </a:p>
      </dgm:t>
    </dgm:pt>
    <dgm:pt modelId="{6DFDF932-65D9-411B-9E8C-6E5CBC049A88}" type="sibTrans" cxnId="{A321A6A8-4ED7-4058-AE7F-D844EC4F3C81}">
      <dgm:prSet/>
      <dgm:spPr/>
      <dgm:t>
        <a:bodyPr/>
        <a:lstStyle/>
        <a:p>
          <a:endParaRPr lang="fr-FR"/>
        </a:p>
      </dgm:t>
    </dgm:pt>
    <dgm:pt modelId="{A0F3BB53-BFD9-4311-B684-72630C012BC6}">
      <dgm:prSet phldrT="[Texte]"/>
      <dgm:spPr/>
      <dgm:t>
        <a:bodyPr/>
        <a:lstStyle/>
        <a:p>
          <a:r>
            <a:rPr lang="fr-FR" dirty="0"/>
            <a:t>PO/SO VS STO</a:t>
          </a:r>
        </a:p>
      </dgm:t>
    </dgm:pt>
    <dgm:pt modelId="{5F19F5A2-4AD7-40D2-B458-D9DD3ABDF243}" type="parTrans" cxnId="{BFED5FBE-0CA9-472E-A0BF-936231C715F2}">
      <dgm:prSet/>
      <dgm:spPr/>
      <dgm:t>
        <a:bodyPr/>
        <a:lstStyle/>
        <a:p>
          <a:endParaRPr lang="fr-FR"/>
        </a:p>
      </dgm:t>
    </dgm:pt>
    <dgm:pt modelId="{CF30C611-B72F-4754-ADB0-287D93CF6C25}" type="sibTrans" cxnId="{BFED5FBE-0CA9-472E-A0BF-936231C715F2}">
      <dgm:prSet/>
      <dgm:spPr/>
      <dgm:t>
        <a:bodyPr/>
        <a:lstStyle/>
        <a:p>
          <a:endParaRPr lang="fr-FR"/>
        </a:p>
      </dgm:t>
    </dgm:pt>
    <dgm:pt modelId="{40B14DBF-D312-4BBD-9391-C006519F3E01}">
      <dgm:prSet phldrT="[Texte]"/>
      <dgm:spPr/>
      <dgm:t>
        <a:bodyPr/>
        <a:lstStyle/>
        <a:p>
          <a:r>
            <a:rPr lang="fr-FR" dirty="0"/>
            <a:t>Gestion de données de base</a:t>
          </a:r>
        </a:p>
      </dgm:t>
    </dgm:pt>
    <dgm:pt modelId="{7D4D3409-B7A2-44BC-8240-C9BFB4871FAF}" type="parTrans" cxnId="{FB82A07F-789E-450E-A0AB-57D97E7D9F0C}">
      <dgm:prSet/>
      <dgm:spPr/>
      <dgm:t>
        <a:bodyPr/>
        <a:lstStyle/>
        <a:p>
          <a:endParaRPr lang="fr-FR"/>
        </a:p>
      </dgm:t>
    </dgm:pt>
    <dgm:pt modelId="{E1F60EA1-8B23-4B5B-BF7D-9C1ADEFD5F15}" type="sibTrans" cxnId="{FB82A07F-789E-450E-A0AB-57D97E7D9F0C}">
      <dgm:prSet/>
      <dgm:spPr/>
      <dgm:t>
        <a:bodyPr/>
        <a:lstStyle/>
        <a:p>
          <a:endParaRPr lang="fr-FR"/>
        </a:p>
      </dgm:t>
    </dgm:pt>
    <dgm:pt modelId="{7F13C70F-5782-4142-9633-00EFF5AC3AD6}" type="pres">
      <dgm:prSet presAssocID="{E480DAEC-3E7C-498B-B5E3-8D648B7F1CBB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879B11A9-CD5C-4A0F-889A-4578D7D08EC6}" type="pres">
      <dgm:prSet presAssocID="{726544AD-5F43-4A4C-8D87-C7CA9FBED385}" presName="centerShape" presStyleLbl="node0" presStyleIdx="0" presStyleCnt="1"/>
      <dgm:spPr/>
    </dgm:pt>
    <dgm:pt modelId="{A7273D20-D213-4020-B2B6-EEC3AAF2CF9C}" type="pres">
      <dgm:prSet presAssocID="{F7793699-6D3E-450D-9DBD-97101F034027}" presName="Name9" presStyleLbl="parChTrans1D2" presStyleIdx="0" presStyleCnt="5"/>
      <dgm:spPr/>
    </dgm:pt>
    <dgm:pt modelId="{F57A0BB2-E51C-4C25-AA52-F94BF7EBB65D}" type="pres">
      <dgm:prSet presAssocID="{F7793699-6D3E-450D-9DBD-97101F034027}" presName="connTx" presStyleLbl="parChTrans1D2" presStyleIdx="0" presStyleCnt="5"/>
      <dgm:spPr/>
    </dgm:pt>
    <dgm:pt modelId="{EC2E52A8-861A-4A8A-94B4-DBB502DC9E6A}" type="pres">
      <dgm:prSet presAssocID="{DB3447C1-522A-4812-8396-2DAE1B9D1D71}" presName="node" presStyleLbl="node1" presStyleIdx="0" presStyleCnt="5">
        <dgm:presLayoutVars>
          <dgm:bulletEnabled val="1"/>
        </dgm:presLayoutVars>
      </dgm:prSet>
      <dgm:spPr/>
    </dgm:pt>
    <dgm:pt modelId="{BBF88232-7E56-4684-9BB7-D6F443FA19FF}" type="pres">
      <dgm:prSet presAssocID="{626D454E-ECC9-4D17-A2EF-C60820A47D95}" presName="Name9" presStyleLbl="parChTrans1D2" presStyleIdx="1" presStyleCnt="5"/>
      <dgm:spPr/>
    </dgm:pt>
    <dgm:pt modelId="{3FE972CF-25CD-41F4-80A9-A7C26E5D0138}" type="pres">
      <dgm:prSet presAssocID="{626D454E-ECC9-4D17-A2EF-C60820A47D95}" presName="connTx" presStyleLbl="parChTrans1D2" presStyleIdx="1" presStyleCnt="5"/>
      <dgm:spPr/>
    </dgm:pt>
    <dgm:pt modelId="{949588A5-478E-44BC-9C94-896385A722D5}" type="pres">
      <dgm:prSet presAssocID="{C4A65641-7B7E-4A46-B465-A646DE2D1D3F}" presName="node" presStyleLbl="node1" presStyleIdx="1" presStyleCnt="5">
        <dgm:presLayoutVars>
          <dgm:bulletEnabled val="1"/>
        </dgm:presLayoutVars>
      </dgm:prSet>
      <dgm:spPr/>
    </dgm:pt>
    <dgm:pt modelId="{031CF886-53F0-43D5-8833-1B21421356A4}" type="pres">
      <dgm:prSet presAssocID="{E916C388-7870-4E41-A237-8852F68F3C16}" presName="Name9" presStyleLbl="parChTrans1D2" presStyleIdx="2" presStyleCnt="5"/>
      <dgm:spPr/>
    </dgm:pt>
    <dgm:pt modelId="{35DD0234-5415-4EA2-B290-A7DC57ED9E6F}" type="pres">
      <dgm:prSet presAssocID="{E916C388-7870-4E41-A237-8852F68F3C16}" presName="connTx" presStyleLbl="parChTrans1D2" presStyleIdx="2" presStyleCnt="5"/>
      <dgm:spPr/>
    </dgm:pt>
    <dgm:pt modelId="{99FC228D-5021-49DD-BEE7-DEB0427DEF79}" type="pres">
      <dgm:prSet presAssocID="{BE34D7F9-FC4F-457E-AA7A-334D86E5F05E}" presName="node" presStyleLbl="node1" presStyleIdx="2" presStyleCnt="5" custRadScaleRad="101825" custRadScaleInc="4825">
        <dgm:presLayoutVars>
          <dgm:bulletEnabled val="1"/>
        </dgm:presLayoutVars>
      </dgm:prSet>
      <dgm:spPr/>
    </dgm:pt>
    <dgm:pt modelId="{BE957D58-54FE-4480-A785-E553CA6E469B}" type="pres">
      <dgm:prSet presAssocID="{7D4D3409-B7A2-44BC-8240-C9BFB4871FAF}" presName="Name9" presStyleLbl="parChTrans1D2" presStyleIdx="3" presStyleCnt="5"/>
      <dgm:spPr/>
    </dgm:pt>
    <dgm:pt modelId="{1B5675DA-86CA-40B4-AC72-C12E923D3E31}" type="pres">
      <dgm:prSet presAssocID="{7D4D3409-B7A2-44BC-8240-C9BFB4871FAF}" presName="connTx" presStyleLbl="parChTrans1D2" presStyleIdx="3" presStyleCnt="5"/>
      <dgm:spPr/>
    </dgm:pt>
    <dgm:pt modelId="{C84BBD62-D840-443C-9343-D78DA79863DA}" type="pres">
      <dgm:prSet presAssocID="{40B14DBF-D312-4BBD-9391-C006519F3E01}" presName="node" presStyleLbl="node1" presStyleIdx="3" presStyleCnt="5" custRadScaleRad="106911" custRadScaleInc="-4487">
        <dgm:presLayoutVars>
          <dgm:bulletEnabled val="1"/>
        </dgm:presLayoutVars>
      </dgm:prSet>
      <dgm:spPr/>
    </dgm:pt>
    <dgm:pt modelId="{2AF948AE-72B8-4F85-BC1B-7C336562C997}" type="pres">
      <dgm:prSet presAssocID="{5F19F5A2-4AD7-40D2-B458-D9DD3ABDF243}" presName="Name9" presStyleLbl="parChTrans1D2" presStyleIdx="4" presStyleCnt="5"/>
      <dgm:spPr/>
    </dgm:pt>
    <dgm:pt modelId="{0AA5E889-6516-4B19-A64A-D5C6FF75219E}" type="pres">
      <dgm:prSet presAssocID="{5F19F5A2-4AD7-40D2-B458-D9DD3ABDF243}" presName="connTx" presStyleLbl="parChTrans1D2" presStyleIdx="4" presStyleCnt="5"/>
      <dgm:spPr/>
    </dgm:pt>
    <dgm:pt modelId="{9FE59560-A962-499A-900E-92514ADD4330}" type="pres">
      <dgm:prSet presAssocID="{A0F3BB53-BFD9-4311-B684-72630C012BC6}" presName="node" presStyleLbl="node1" presStyleIdx="4" presStyleCnt="5">
        <dgm:presLayoutVars>
          <dgm:bulletEnabled val="1"/>
        </dgm:presLayoutVars>
      </dgm:prSet>
      <dgm:spPr/>
    </dgm:pt>
  </dgm:ptLst>
  <dgm:cxnLst>
    <dgm:cxn modelId="{91E4CF2B-6C69-43C7-90C2-FDF2C7C1C5F5}" srcId="{726544AD-5F43-4A4C-8D87-C7CA9FBED385}" destId="{C4A65641-7B7E-4A46-B465-A646DE2D1D3F}" srcOrd="1" destOrd="0" parTransId="{626D454E-ECC9-4D17-A2EF-C60820A47D95}" sibTransId="{2416BFCB-5556-406C-B26F-2AE2B211169C}"/>
    <dgm:cxn modelId="{90B92660-F5B2-45CF-A6ED-D95B8D18D66F}" type="presOf" srcId="{F7793699-6D3E-450D-9DBD-97101F034027}" destId="{A7273D20-D213-4020-B2B6-EEC3AAF2CF9C}" srcOrd="0" destOrd="0" presId="urn:microsoft.com/office/officeart/2005/8/layout/radial1"/>
    <dgm:cxn modelId="{AE29A063-0B85-485A-8D55-F4538C663B8E}" type="presOf" srcId="{A0F3BB53-BFD9-4311-B684-72630C012BC6}" destId="{9FE59560-A962-499A-900E-92514ADD4330}" srcOrd="0" destOrd="0" presId="urn:microsoft.com/office/officeart/2005/8/layout/radial1"/>
    <dgm:cxn modelId="{5416C247-DB0E-4880-BB97-C88CC4266BCF}" type="presOf" srcId="{E916C388-7870-4E41-A237-8852F68F3C16}" destId="{35DD0234-5415-4EA2-B290-A7DC57ED9E6F}" srcOrd="1" destOrd="0" presId="urn:microsoft.com/office/officeart/2005/8/layout/radial1"/>
    <dgm:cxn modelId="{F82CEE6E-FCAE-4CC2-ADE7-54FC57F78F83}" type="presOf" srcId="{40B14DBF-D312-4BBD-9391-C006519F3E01}" destId="{C84BBD62-D840-443C-9343-D78DA79863DA}" srcOrd="0" destOrd="0" presId="urn:microsoft.com/office/officeart/2005/8/layout/radial1"/>
    <dgm:cxn modelId="{DBBC684F-1FF3-4939-91B5-EE7368C5CEDE}" srcId="{E480DAEC-3E7C-498B-B5E3-8D648B7F1CBB}" destId="{726544AD-5F43-4A4C-8D87-C7CA9FBED385}" srcOrd="0" destOrd="0" parTransId="{59FEBDC2-A486-4C4F-8FBB-C30E7CC487A9}" sibTransId="{71C65194-6A37-41E5-B99D-AF44FF8FD0DE}"/>
    <dgm:cxn modelId="{B7DE9475-E969-4250-876E-7DE57706732B}" type="presOf" srcId="{DB3447C1-522A-4812-8396-2DAE1B9D1D71}" destId="{EC2E52A8-861A-4A8A-94B4-DBB502DC9E6A}" srcOrd="0" destOrd="0" presId="urn:microsoft.com/office/officeart/2005/8/layout/radial1"/>
    <dgm:cxn modelId="{F4F4177A-1DBA-429B-AF40-5BBAB5D74941}" type="presOf" srcId="{5F19F5A2-4AD7-40D2-B458-D9DD3ABDF243}" destId="{0AA5E889-6516-4B19-A64A-D5C6FF75219E}" srcOrd="1" destOrd="0" presId="urn:microsoft.com/office/officeart/2005/8/layout/radial1"/>
    <dgm:cxn modelId="{CF23787D-6A5A-4DA5-A612-9AA56FE4C1D6}" type="presOf" srcId="{E480DAEC-3E7C-498B-B5E3-8D648B7F1CBB}" destId="{7F13C70F-5782-4142-9633-00EFF5AC3AD6}" srcOrd="0" destOrd="0" presId="urn:microsoft.com/office/officeart/2005/8/layout/radial1"/>
    <dgm:cxn modelId="{FB82A07F-789E-450E-A0AB-57D97E7D9F0C}" srcId="{726544AD-5F43-4A4C-8D87-C7CA9FBED385}" destId="{40B14DBF-D312-4BBD-9391-C006519F3E01}" srcOrd="3" destOrd="0" parTransId="{7D4D3409-B7A2-44BC-8240-C9BFB4871FAF}" sibTransId="{E1F60EA1-8B23-4B5B-BF7D-9C1ADEFD5F15}"/>
    <dgm:cxn modelId="{BFFABB86-C26C-49BB-B81E-64BF28CCB4A6}" type="presOf" srcId="{7D4D3409-B7A2-44BC-8240-C9BFB4871FAF}" destId="{1B5675DA-86CA-40B4-AC72-C12E923D3E31}" srcOrd="1" destOrd="0" presId="urn:microsoft.com/office/officeart/2005/8/layout/radial1"/>
    <dgm:cxn modelId="{D7062A91-49A7-499A-AF34-9FABA58E71DE}" srcId="{726544AD-5F43-4A4C-8D87-C7CA9FBED385}" destId="{DB3447C1-522A-4812-8396-2DAE1B9D1D71}" srcOrd="0" destOrd="0" parTransId="{F7793699-6D3E-450D-9DBD-97101F034027}" sibTransId="{61F3E8A6-6B96-4CF6-A349-9D8E4D3B85C3}"/>
    <dgm:cxn modelId="{BF5B1696-D495-4759-8DCB-3A9690DFEB0B}" type="presOf" srcId="{BE34D7F9-FC4F-457E-AA7A-334D86E5F05E}" destId="{99FC228D-5021-49DD-BEE7-DEB0427DEF79}" srcOrd="0" destOrd="0" presId="urn:microsoft.com/office/officeart/2005/8/layout/radial1"/>
    <dgm:cxn modelId="{257D859A-915D-4FEC-9195-E609D889B7EB}" type="presOf" srcId="{626D454E-ECC9-4D17-A2EF-C60820A47D95}" destId="{3FE972CF-25CD-41F4-80A9-A7C26E5D0138}" srcOrd="1" destOrd="0" presId="urn:microsoft.com/office/officeart/2005/8/layout/radial1"/>
    <dgm:cxn modelId="{A321A6A8-4ED7-4058-AE7F-D844EC4F3C81}" srcId="{726544AD-5F43-4A4C-8D87-C7CA9FBED385}" destId="{BE34D7F9-FC4F-457E-AA7A-334D86E5F05E}" srcOrd="2" destOrd="0" parTransId="{E916C388-7870-4E41-A237-8852F68F3C16}" sibTransId="{6DFDF932-65D9-411B-9E8C-6E5CBC049A88}"/>
    <dgm:cxn modelId="{FFF4ECA8-4771-44ED-AC3F-BC1507B5A09A}" type="presOf" srcId="{5F19F5A2-4AD7-40D2-B458-D9DD3ABDF243}" destId="{2AF948AE-72B8-4F85-BC1B-7C336562C997}" srcOrd="0" destOrd="0" presId="urn:microsoft.com/office/officeart/2005/8/layout/radial1"/>
    <dgm:cxn modelId="{7CBD62BC-1048-4FEC-8A06-41B25EEFDA15}" type="presOf" srcId="{F7793699-6D3E-450D-9DBD-97101F034027}" destId="{F57A0BB2-E51C-4C25-AA52-F94BF7EBB65D}" srcOrd="1" destOrd="0" presId="urn:microsoft.com/office/officeart/2005/8/layout/radial1"/>
    <dgm:cxn modelId="{BFED5FBE-0CA9-472E-A0BF-936231C715F2}" srcId="{726544AD-5F43-4A4C-8D87-C7CA9FBED385}" destId="{A0F3BB53-BFD9-4311-B684-72630C012BC6}" srcOrd="4" destOrd="0" parTransId="{5F19F5A2-4AD7-40D2-B458-D9DD3ABDF243}" sibTransId="{CF30C611-B72F-4754-ADB0-287D93CF6C25}"/>
    <dgm:cxn modelId="{73C17DD2-86C2-4950-B6CB-29E4A7E066A6}" type="presOf" srcId="{626D454E-ECC9-4D17-A2EF-C60820A47D95}" destId="{BBF88232-7E56-4684-9BB7-D6F443FA19FF}" srcOrd="0" destOrd="0" presId="urn:microsoft.com/office/officeart/2005/8/layout/radial1"/>
    <dgm:cxn modelId="{AB33E4D3-43F5-45A4-ADB3-BC535C3FFB0F}" type="presOf" srcId="{C4A65641-7B7E-4A46-B465-A646DE2D1D3F}" destId="{949588A5-478E-44BC-9C94-896385A722D5}" srcOrd="0" destOrd="0" presId="urn:microsoft.com/office/officeart/2005/8/layout/radial1"/>
    <dgm:cxn modelId="{5A4707E4-8476-4532-922E-EBD4D0B4A593}" type="presOf" srcId="{E916C388-7870-4E41-A237-8852F68F3C16}" destId="{031CF886-53F0-43D5-8833-1B21421356A4}" srcOrd="0" destOrd="0" presId="urn:microsoft.com/office/officeart/2005/8/layout/radial1"/>
    <dgm:cxn modelId="{E80D08E6-3156-4E75-B6DE-747C1248936B}" type="presOf" srcId="{726544AD-5F43-4A4C-8D87-C7CA9FBED385}" destId="{879B11A9-CD5C-4A0F-889A-4578D7D08EC6}" srcOrd="0" destOrd="0" presId="urn:microsoft.com/office/officeart/2005/8/layout/radial1"/>
    <dgm:cxn modelId="{1EC261E7-1088-4554-B3FA-B8258AEBC60F}" type="presOf" srcId="{7D4D3409-B7A2-44BC-8240-C9BFB4871FAF}" destId="{BE957D58-54FE-4480-A785-E553CA6E469B}" srcOrd="0" destOrd="0" presId="urn:microsoft.com/office/officeart/2005/8/layout/radial1"/>
    <dgm:cxn modelId="{50356B8F-D940-485C-940C-44BA7E5C4388}" type="presParOf" srcId="{7F13C70F-5782-4142-9633-00EFF5AC3AD6}" destId="{879B11A9-CD5C-4A0F-889A-4578D7D08EC6}" srcOrd="0" destOrd="0" presId="urn:microsoft.com/office/officeart/2005/8/layout/radial1"/>
    <dgm:cxn modelId="{5489B259-621C-4343-8D92-578B89B96B27}" type="presParOf" srcId="{7F13C70F-5782-4142-9633-00EFF5AC3AD6}" destId="{A7273D20-D213-4020-B2B6-EEC3AAF2CF9C}" srcOrd="1" destOrd="0" presId="urn:microsoft.com/office/officeart/2005/8/layout/radial1"/>
    <dgm:cxn modelId="{255DEEEB-E9FD-4558-BDE2-F86D0A765698}" type="presParOf" srcId="{A7273D20-D213-4020-B2B6-EEC3AAF2CF9C}" destId="{F57A0BB2-E51C-4C25-AA52-F94BF7EBB65D}" srcOrd="0" destOrd="0" presId="urn:microsoft.com/office/officeart/2005/8/layout/radial1"/>
    <dgm:cxn modelId="{16538797-927C-4A58-AD4D-421DDFC24714}" type="presParOf" srcId="{7F13C70F-5782-4142-9633-00EFF5AC3AD6}" destId="{EC2E52A8-861A-4A8A-94B4-DBB502DC9E6A}" srcOrd="2" destOrd="0" presId="urn:microsoft.com/office/officeart/2005/8/layout/radial1"/>
    <dgm:cxn modelId="{0E1F437D-240C-4FE4-9723-3400834B949E}" type="presParOf" srcId="{7F13C70F-5782-4142-9633-00EFF5AC3AD6}" destId="{BBF88232-7E56-4684-9BB7-D6F443FA19FF}" srcOrd="3" destOrd="0" presId="urn:microsoft.com/office/officeart/2005/8/layout/radial1"/>
    <dgm:cxn modelId="{EF18A96C-867F-401B-A965-AA11F4B1DBE2}" type="presParOf" srcId="{BBF88232-7E56-4684-9BB7-D6F443FA19FF}" destId="{3FE972CF-25CD-41F4-80A9-A7C26E5D0138}" srcOrd="0" destOrd="0" presId="urn:microsoft.com/office/officeart/2005/8/layout/radial1"/>
    <dgm:cxn modelId="{49728F01-0F5C-4222-ABC7-9D460B8C9945}" type="presParOf" srcId="{7F13C70F-5782-4142-9633-00EFF5AC3AD6}" destId="{949588A5-478E-44BC-9C94-896385A722D5}" srcOrd="4" destOrd="0" presId="urn:microsoft.com/office/officeart/2005/8/layout/radial1"/>
    <dgm:cxn modelId="{6BD4F6D0-E563-441E-9E4A-DBA022EE00BF}" type="presParOf" srcId="{7F13C70F-5782-4142-9633-00EFF5AC3AD6}" destId="{031CF886-53F0-43D5-8833-1B21421356A4}" srcOrd="5" destOrd="0" presId="urn:microsoft.com/office/officeart/2005/8/layout/radial1"/>
    <dgm:cxn modelId="{5EA19B77-0889-4517-A632-5249DD0AA242}" type="presParOf" srcId="{031CF886-53F0-43D5-8833-1B21421356A4}" destId="{35DD0234-5415-4EA2-B290-A7DC57ED9E6F}" srcOrd="0" destOrd="0" presId="urn:microsoft.com/office/officeart/2005/8/layout/radial1"/>
    <dgm:cxn modelId="{FDFF247C-B381-4CE1-A4FA-DF4CEB58CCE2}" type="presParOf" srcId="{7F13C70F-5782-4142-9633-00EFF5AC3AD6}" destId="{99FC228D-5021-49DD-BEE7-DEB0427DEF79}" srcOrd="6" destOrd="0" presId="urn:microsoft.com/office/officeart/2005/8/layout/radial1"/>
    <dgm:cxn modelId="{6D5D146E-6DFF-4C46-B1AB-851C00886771}" type="presParOf" srcId="{7F13C70F-5782-4142-9633-00EFF5AC3AD6}" destId="{BE957D58-54FE-4480-A785-E553CA6E469B}" srcOrd="7" destOrd="0" presId="urn:microsoft.com/office/officeart/2005/8/layout/radial1"/>
    <dgm:cxn modelId="{68A25B6E-6386-41E1-A05D-2B53C2A034E6}" type="presParOf" srcId="{BE957D58-54FE-4480-A785-E553CA6E469B}" destId="{1B5675DA-86CA-40B4-AC72-C12E923D3E31}" srcOrd="0" destOrd="0" presId="urn:microsoft.com/office/officeart/2005/8/layout/radial1"/>
    <dgm:cxn modelId="{9EE11D95-57CC-465D-ADE0-A1CEB41A38B8}" type="presParOf" srcId="{7F13C70F-5782-4142-9633-00EFF5AC3AD6}" destId="{C84BBD62-D840-443C-9343-D78DA79863DA}" srcOrd="8" destOrd="0" presId="urn:microsoft.com/office/officeart/2005/8/layout/radial1"/>
    <dgm:cxn modelId="{D8B4E8AE-04C3-4BB6-9402-F46C2F6A1472}" type="presParOf" srcId="{7F13C70F-5782-4142-9633-00EFF5AC3AD6}" destId="{2AF948AE-72B8-4F85-BC1B-7C336562C997}" srcOrd="9" destOrd="0" presId="urn:microsoft.com/office/officeart/2005/8/layout/radial1"/>
    <dgm:cxn modelId="{C1B2C7F6-C6E9-437A-A668-5AC5F39228B4}" type="presParOf" srcId="{2AF948AE-72B8-4F85-BC1B-7C336562C997}" destId="{0AA5E889-6516-4B19-A64A-D5C6FF75219E}" srcOrd="0" destOrd="0" presId="urn:microsoft.com/office/officeart/2005/8/layout/radial1"/>
    <dgm:cxn modelId="{90EF43C6-3526-403F-AC18-5F185C472CA7}" type="presParOf" srcId="{7F13C70F-5782-4142-9633-00EFF5AC3AD6}" destId="{9FE59560-A962-499A-900E-92514ADD4330}" srcOrd="10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8B88458-DCBA-4442-8D00-23B8A9EBC6C6}" type="doc">
      <dgm:prSet loTypeId="urn:microsoft.com/office/officeart/2008/layout/CaptionedPictures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63AEFBEA-B5BD-4C9B-92FA-7C03AFF9AC67}">
      <dgm:prSet phldrT="[Texte]"/>
      <dgm:spPr/>
      <dgm:t>
        <a:bodyPr/>
        <a:lstStyle/>
        <a:p>
          <a:r>
            <a:rPr lang="fr-FR" dirty="0"/>
            <a:t>Problèmes d’uniformisation des processus d’achat et de gestion des stocks</a:t>
          </a:r>
        </a:p>
      </dgm:t>
    </dgm:pt>
    <dgm:pt modelId="{3D91618D-CED3-46D5-93A4-4B3CDD12F10A}" type="parTrans" cxnId="{1F023897-C8F5-4BE7-B07C-D2591FA7FA45}">
      <dgm:prSet/>
      <dgm:spPr/>
      <dgm:t>
        <a:bodyPr/>
        <a:lstStyle/>
        <a:p>
          <a:endParaRPr lang="fr-FR"/>
        </a:p>
      </dgm:t>
    </dgm:pt>
    <dgm:pt modelId="{E80CFBD5-34B4-47BC-B489-333F39E25068}" type="sibTrans" cxnId="{1F023897-C8F5-4BE7-B07C-D2591FA7FA45}">
      <dgm:prSet/>
      <dgm:spPr/>
      <dgm:t>
        <a:bodyPr/>
        <a:lstStyle/>
        <a:p>
          <a:endParaRPr lang="fr-FR"/>
        </a:p>
      </dgm:t>
    </dgm:pt>
    <dgm:pt modelId="{13992B43-DED3-4630-BE9B-C7B4AA52C9CA}">
      <dgm:prSet phldrT="[Texte]"/>
      <dgm:spPr/>
      <dgm:t>
        <a:bodyPr/>
        <a:lstStyle/>
        <a:p>
          <a:r>
            <a:rPr lang="fr-FR" dirty="0"/>
            <a:t>Difficultés dans la gestion des commandes clients et des données clients</a:t>
          </a:r>
        </a:p>
      </dgm:t>
    </dgm:pt>
    <dgm:pt modelId="{17101D65-B67F-4ABD-A8E8-9158C26B93E9}" type="parTrans" cxnId="{57D00DA2-C7AE-431D-A3DC-4F1985824FBB}">
      <dgm:prSet/>
      <dgm:spPr/>
      <dgm:t>
        <a:bodyPr/>
        <a:lstStyle/>
        <a:p>
          <a:endParaRPr lang="fr-FR"/>
        </a:p>
      </dgm:t>
    </dgm:pt>
    <dgm:pt modelId="{EFAB5BD7-316B-4F91-B1FB-7CC463018F1A}" type="sibTrans" cxnId="{57D00DA2-C7AE-431D-A3DC-4F1985824FBB}">
      <dgm:prSet/>
      <dgm:spPr/>
      <dgm:t>
        <a:bodyPr/>
        <a:lstStyle/>
        <a:p>
          <a:endParaRPr lang="fr-FR"/>
        </a:p>
      </dgm:t>
    </dgm:pt>
    <dgm:pt modelId="{1BF003F7-739D-4149-9AFF-27BEC49B40B4}">
      <dgm:prSet phldrT="[Texte]"/>
      <dgm:spPr/>
      <dgm:t>
        <a:bodyPr/>
        <a:lstStyle/>
        <a:p>
          <a:r>
            <a:rPr lang="fr-FR" dirty="0"/>
            <a:t>Manque de visibilité en temps réel sur les stocks dans les différents entrepôts régionaux</a:t>
          </a:r>
        </a:p>
      </dgm:t>
    </dgm:pt>
    <dgm:pt modelId="{EA315C70-D59F-41E3-8532-4FC6DF82F35C}" type="parTrans" cxnId="{B055C47B-162B-4E82-BAF0-7BE82BD8F13F}">
      <dgm:prSet/>
      <dgm:spPr/>
      <dgm:t>
        <a:bodyPr/>
        <a:lstStyle/>
        <a:p>
          <a:endParaRPr lang="fr-FR"/>
        </a:p>
      </dgm:t>
    </dgm:pt>
    <dgm:pt modelId="{0FFFD4FF-2740-477F-83F8-F53F247B7CDB}" type="sibTrans" cxnId="{B055C47B-162B-4E82-BAF0-7BE82BD8F13F}">
      <dgm:prSet/>
      <dgm:spPr/>
      <dgm:t>
        <a:bodyPr/>
        <a:lstStyle/>
        <a:p>
          <a:endParaRPr lang="fr-FR"/>
        </a:p>
      </dgm:t>
    </dgm:pt>
    <dgm:pt modelId="{695B0E87-DC40-43FA-BFE2-3B85A8452808}" type="pres">
      <dgm:prSet presAssocID="{18B88458-DCBA-4442-8D00-23B8A9EBC6C6}" presName="Name0" presStyleCnt="0">
        <dgm:presLayoutVars>
          <dgm:chMax/>
          <dgm:chPref/>
          <dgm:dir/>
        </dgm:presLayoutVars>
      </dgm:prSet>
      <dgm:spPr/>
    </dgm:pt>
    <dgm:pt modelId="{63921F14-5D89-4479-87E1-F3E0CA3FC6FC}" type="pres">
      <dgm:prSet presAssocID="{63AEFBEA-B5BD-4C9B-92FA-7C03AFF9AC67}" presName="composite" presStyleCnt="0">
        <dgm:presLayoutVars>
          <dgm:chMax val="1"/>
          <dgm:chPref val="1"/>
        </dgm:presLayoutVars>
      </dgm:prSet>
      <dgm:spPr/>
    </dgm:pt>
    <dgm:pt modelId="{4CBA4152-6D2A-4760-ACEF-ED1B5167E9C4}" type="pres">
      <dgm:prSet presAssocID="{63AEFBEA-B5BD-4C9B-92FA-7C03AFF9AC67}" presName="Accent" presStyleLbl="trAlignAcc1" presStyleIdx="0" presStyleCnt="3">
        <dgm:presLayoutVars>
          <dgm:chMax val="0"/>
          <dgm:chPref val="0"/>
        </dgm:presLayoutVars>
      </dgm:prSet>
      <dgm:spPr/>
    </dgm:pt>
    <dgm:pt modelId="{BA26D594-429E-47AD-A23D-8A6097A10892}" type="pres">
      <dgm:prSet presAssocID="{63AEFBEA-B5BD-4C9B-92FA-7C03AFF9AC67}" presName="Image" presStyleLbl="alignImgPlace1" presStyleIdx="0" presStyleCnt="3">
        <dgm:presLayoutVars>
          <dgm:chMax val="0"/>
          <dgm:chPref val="0"/>
        </dgm:presLayoutVars>
      </dgm:prSet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A7A3FF0F-EAD7-47C4-BB6D-975087E09F00}" type="pres">
      <dgm:prSet presAssocID="{63AEFBEA-B5BD-4C9B-92FA-7C03AFF9AC67}" presName="ChildComposite" presStyleCnt="0"/>
      <dgm:spPr/>
    </dgm:pt>
    <dgm:pt modelId="{49C08ACB-C74C-4997-A0A6-797B71142EE7}" type="pres">
      <dgm:prSet presAssocID="{63AEFBEA-B5BD-4C9B-92FA-7C03AFF9AC67}" presName="Child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AC7ABD9D-ED09-4D2F-9C13-D4CF792FAB05}" type="pres">
      <dgm:prSet presAssocID="{63AEFBEA-B5BD-4C9B-92FA-7C03AFF9AC67}" presName="Parent" presStyleLbl="revTx" presStyleIdx="0" presStyleCnt="3">
        <dgm:presLayoutVars>
          <dgm:chMax val="1"/>
          <dgm:chPref val="0"/>
          <dgm:bulletEnabled val="1"/>
        </dgm:presLayoutVars>
      </dgm:prSet>
      <dgm:spPr/>
    </dgm:pt>
    <dgm:pt modelId="{6377225B-97FC-492C-BE57-E74F93DE258B}" type="pres">
      <dgm:prSet presAssocID="{E80CFBD5-34B4-47BC-B489-333F39E25068}" presName="sibTrans" presStyleCnt="0"/>
      <dgm:spPr/>
    </dgm:pt>
    <dgm:pt modelId="{B11390F0-CA24-4049-A2EE-3F11E088EF46}" type="pres">
      <dgm:prSet presAssocID="{13992B43-DED3-4630-BE9B-C7B4AA52C9CA}" presName="composite" presStyleCnt="0">
        <dgm:presLayoutVars>
          <dgm:chMax val="1"/>
          <dgm:chPref val="1"/>
        </dgm:presLayoutVars>
      </dgm:prSet>
      <dgm:spPr/>
    </dgm:pt>
    <dgm:pt modelId="{475FE16F-B7B1-4343-A22E-4FB29BEC64CA}" type="pres">
      <dgm:prSet presAssocID="{13992B43-DED3-4630-BE9B-C7B4AA52C9CA}" presName="Accent" presStyleLbl="trAlignAcc1" presStyleIdx="1" presStyleCnt="3">
        <dgm:presLayoutVars>
          <dgm:chMax val="0"/>
          <dgm:chPref val="0"/>
        </dgm:presLayoutVars>
      </dgm:prSet>
      <dgm:spPr/>
    </dgm:pt>
    <dgm:pt modelId="{8D246A72-A336-4877-9F07-231CC041AFE2}" type="pres">
      <dgm:prSet presAssocID="{13992B43-DED3-4630-BE9B-C7B4AA52C9CA}" presName="Image" presStyleLbl="alignImgPlace1" presStyleIdx="1" presStyleCnt="3">
        <dgm:presLayoutVars>
          <dgm:chMax val="0"/>
          <dgm:chPref val="0"/>
        </dgm:presLayoutVars>
      </dgm:prSet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6000" b="-6000"/>
          </a:stretch>
        </a:blipFill>
      </dgm:spPr>
    </dgm:pt>
    <dgm:pt modelId="{BB360B9C-D1EF-4B73-96AB-2DCFFD697077}" type="pres">
      <dgm:prSet presAssocID="{13992B43-DED3-4630-BE9B-C7B4AA52C9CA}" presName="ChildComposite" presStyleCnt="0"/>
      <dgm:spPr/>
    </dgm:pt>
    <dgm:pt modelId="{7D70EE15-AD3E-42FC-AFD5-3DFB9F4391D5}" type="pres">
      <dgm:prSet presAssocID="{13992B43-DED3-4630-BE9B-C7B4AA52C9CA}" presName="Child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BA0D69BA-633D-4848-B525-9BB2FA6DC8C0}" type="pres">
      <dgm:prSet presAssocID="{13992B43-DED3-4630-BE9B-C7B4AA52C9CA}" presName="Parent" presStyleLbl="revTx" presStyleIdx="1" presStyleCnt="3">
        <dgm:presLayoutVars>
          <dgm:chMax val="1"/>
          <dgm:chPref val="0"/>
          <dgm:bulletEnabled val="1"/>
        </dgm:presLayoutVars>
      </dgm:prSet>
      <dgm:spPr/>
    </dgm:pt>
    <dgm:pt modelId="{738E8E55-5CCB-4C00-AD44-666FF6C7BD52}" type="pres">
      <dgm:prSet presAssocID="{EFAB5BD7-316B-4F91-B1FB-7CC463018F1A}" presName="sibTrans" presStyleCnt="0"/>
      <dgm:spPr/>
    </dgm:pt>
    <dgm:pt modelId="{9CA2A9D4-5EC4-4B88-8043-2C280BC25904}" type="pres">
      <dgm:prSet presAssocID="{1BF003F7-739D-4149-9AFF-27BEC49B40B4}" presName="composite" presStyleCnt="0">
        <dgm:presLayoutVars>
          <dgm:chMax val="1"/>
          <dgm:chPref val="1"/>
        </dgm:presLayoutVars>
      </dgm:prSet>
      <dgm:spPr/>
    </dgm:pt>
    <dgm:pt modelId="{E471BEAA-C883-47EC-8B5C-B528FB33F9B3}" type="pres">
      <dgm:prSet presAssocID="{1BF003F7-739D-4149-9AFF-27BEC49B40B4}" presName="Accent" presStyleLbl="trAlignAcc1" presStyleIdx="2" presStyleCnt="3">
        <dgm:presLayoutVars>
          <dgm:chMax val="0"/>
          <dgm:chPref val="0"/>
        </dgm:presLayoutVars>
      </dgm:prSet>
      <dgm:spPr/>
    </dgm:pt>
    <dgm:pt modelId="{D7A9219E-3A7D-4BA6-B415-CBD4D7F5DA5D}" type="pres">
      <dgm:prSet presAssocID="{1BF003F7-739D-4149-9AFF-27BEC49B40B4}" presName="Image" presStyleLbl="alignImgPlace1" presStyleIdx="2" presStyleCnt="3">
        <dgm:presLayoutVars>
          <dgm:chMax val="0"/>
          <dgm:chPref val="0"/>
        </dgm:presLayoutVars>
      </dgm:prSet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</dgm:spPr>
    </dgm:pt>
    <dgm:pt modelId="{2398AB57-0A36-485C-B079-0439C2A0F75D}" type="pres">
      <dgm:prSet presAssocID="{1BF003F7-739D-4149-9AFF-27BEC49B40B4}" presName="ChildComposite" presStyleCnt="0"/>
      <dgm:spPr/>
    </dgm:pt>
    <dgm:pt modelId="{D7CF4524-83C9-4CD6-9A27-65A864EE5FF4}" type="pres">
      <dgm:prSet presAssocID="{1BF003F7-739D-4149-9AFF-27BEC49B40B4}" presName="Child" presStyleLbl="node1" presStyleIdx="0" presStyleCnt="0">
        <dgm:presLayoutVars>
          <dgm:chMax val="0"/>
          <dgm:chPref val="0"/>
          <dgm:bulletEnabled val="1"/>
        </dgm:presLayoutVars>
      </dgm:prSet>
      <dgm:spPr/>
    </dgm:pt>
    <dgm:pt modelId="{F4EDFA7D-7255-4335-8F51-F699FD0C2BFD}" type="pres">
      <dgm:prSet presAssocID="{1BF003F7-739D-4149-9AFF-27BEC49B40B4}" presName="Parent" presStyleLbl="revTx" presStyleIdx="2" presStyleCnt="3">
        <dgm:presLayoutVars>
          <dgm:chMax val="1"/>
          <dgm:chPref val="0"/>
          <dgm:bulletEnabled val="1"/>
        </dgm:presLayoutVars>
      </dgm:prSet>
      <dgm:spPr/>
    </dgm:pt>
  </dgm:ptLst>
  <dgm:cxnLst>
    <dgm:cxn modelId="{8A0B8F19-40D2-4803-A62C-3FB35B32EFEF}" type="presOf" srcId="{1BF003F7-739D-4149-9AFF-27BEC49B40B4}" destId="{F4EDFA7D-7255-4335-8F51-F699FD0C2BFD}" srcOrd="0" destOrd="0" presId="urn:microsoft.com/office/officeart/2008/layout/CaptionedPictures"/>
    <dgm:cxn modelId="{27F15125-2D31-4B84-BC4E-7A45EA4A75C8}" type="presOf" srcId="{63AEFBEA-B5BD-4C9B-92FA-7C03AFF9AC67}" destId="{AC7ABD9D-ED09-4D2F-9C13-D4CF792FAB05}" srcOrd="0" destOrd="0" presId="urn:microsoft.com/office/officeart/2008/layout/CaptionedPictures"/>
    <dgm:cxn modelId="{E7B6F149-C794-4BB0-8507-87B4B1736440}" type="presOf" srcId="{13992B43-DED3-4630-BE9B-C7B4AA52C9CA}" destId="{BA0D69BA-633D-4848-B525-9BB2FA6DC8C0}" srcOrd="0" destOrd="0" presId="urn:microsoft.com/office/officeart/2008/layout/CaptionedPictures"/>
    <dgm:cxn modelId="{B055C47B-162B-4E82-BAF0-7BE82BD8F13F}" srcId="{18B88458-DCBA-4442-8D00-23B8A9EBC6C6}" destId="{1BF003F7-739D-4149-9AFF-27BEC49B40B4}" srcOrd="2" destOrd="0" parTransId="{EA315C70-D59F-41E3-8532-4FC6DF82F35C}" sibTransId="{0FFFD4FF-2740-477F-83F8-F53F247B7CDB}"/>
    <dgm:cxn modelId="{1F023897-C8F5-4BE7-B07C-D2591FA7FA45}" srcId="{18B88458-DCBA-4442-8D00-23B8A9EBC6C6}" destId="{63AEFBEA-B5BD-4C9B-92FA-7C03AFF9AC67}" srcOrd="0" destOrd="0" parTransId="{3D91618D-CED3-46D5-93A4-4B3CDD12F10A}" sibTransId="{E80CFBD5-34B4-47BC-B489-333F39E25068}"/>
    <dgm:cxn modelId="{57D00DA2-C7AE-431D-A3DC-4F1985824FBB}" srcId="{18B88458-DCBA-4442-8D00-23B8A9EBC6C6}" destId="{13992B43-DED3-4630-BE9B-C7B4AA52C9CA}" srcOrd="1" destOrd="0" parTransId="{17101D65-B67F-4ABD-A8E8-9158C26B93E9}" sibTransId="{EFAB5BD7-316B-4F91-B1FB-7CC463018F1A}"/>
    <dgm:cxn modelId="{0678D3C0-C4BF-43F2-8755-EB50A93F91C9}" type="presOf" srcId="{18B88458-DCBA-4442-8D00-23B8A9EBC6C6}" destId="{695B0E87-DC40-43FA-BFE2-3B85A8452808}" srcOrd="0" destOrd="0" presId="urn:microsoft.com/office/officeart/2008/layout/CaptionedPictures"/>
    <dgm:cxn modelId="{B72FE334-A81E-4998-B24B-7A42702B992B}" type="presParOf" srcId="{695B0E87-DC40-43FA-BFE2-3B85A8452808}" destId="{63921F14-5D89-4479-87E1-F3E0CA3FC6FC}" srcOrd="0" destOrd="0" presId="urn:microsoft.com/office/officeart/2008/layout/CaptionedPictures"/>
    <dgm:cxn modelId="{8299E3EC-EBE9-4228-9EB1-2690B65AECCD}" type="presParOf" srcId="{63921F14-5D89-4479-87E1-F3E0CA3FC6FC}" destId="{4CBA4152-6D2A-4760-ACEF-ED1B5167E9C4}" srcOrd="0" destOrd="0" presId="urn:microsoft.com/office/officeart/2008/layout/CaptionedPictures"/>
    <dgm:cxn modelId="{5FECEB1B-34F8-4FFE-9F5C-60A0A08430D4}" type="presParOf" srcId="{63921F14-5D89-4479-87E1-F3E0CA3FC6FC}" destId="{BA26D594-429E-47AD-A23D-8A6097A10892}" srcOrd="1" destOrd="0" presId="urn:microsoft.com/office/officeart/2008/layout/CaptionedPictures"/>
    <dgm:cxn modelId="{43C65A35-818A-47AC-8062-83D8CF0667E9}" type="presParOf" srcId="{63921F14-5D89-4479-87E1-F3E0CA3FC6FC}" destId="{A7A3FF0F-EAD7-47C4-BB6D-975087E09F00}" srcOrd="2" destOrd="0" presId="urn:microsoft.com/office/officeart/2008/layout/CaptionedPictures"/>
    <dgm:cxn modelId="{B246615E-B4CD-4E07-91B4-6706672DFD84}" type="presParOf" srcId="{A7A3FF0F-EAD7-47C4-BB6D-975087E09F00}" destId="{49C08ACB-C74C-4997-A0A6-797B71142EE7}" srcOrd="0" destOrd="0" presId="urn:microsoft.com/office/officeart/2008/layout/CaptionedPictures"/>
    <dgm:cxn modelId="{3338D896-4C50-4745-AF0E-747686C98B03}" type="presParOf" srcId="{A7A3FF0F-EAD7-47C4-BB6D-975087E09F00}" destId="{AC7ABD9D-ED09-4D2F-9C13-D4CF792FAB05}" srcOrd="1" destOrd="0" presId="urn:microsoft.com/office/officeart/2008/layout/CaptionedPictures"/>
    <dgm:cxn modelId="{24181B38-7A52-4F9E-A08A-960E3DA6FEDC}" type="presParOf" srcId="{695B0E87-DC40-43FA-BFE2-3B85A8452808}" destId="{6377225B-97FC-492C-BE57-E74F93DE258B}" srcOrd="1" destOrd="0" presId="urn:microsoft.com/office/officeart/2008/layout/CaptionedPictures"/>
    <dgm:cxn modelId="{DEFF2E48-24C9-4529-9AC3-CDE86559F3A3}" type="presParOf" srcId="{695B0E87-DC40-43FA-BFE2-3B85A8452808}" destId="{B11390F0-CA24-4049-A2EE-3F11E088EF46}" srcOrd="2" destOrd="0" presId="urn:microsoft.com/office/officeart/2008/layout/CaptionedPictures"/>
    <dgm:cxn modelId="{9E5EE60E-9905-4B34-848D-16CD800C8642}" type="presParOf" srcId="{B11390F0-CA24-4049-A2EE-3F11E088EF46}" destId="{475FE16F-B7B1-4343-A22E-4FB29BEC64CA}" srcOrd="0" destOrd="0" presId="urn:microsoft.com/office/officeart/2008/layout/CaptionedPictures"/>
    <dgm:cxn modelId="{49EAF097-6C45-476F-B322-8D149D8BC21C}" type="presParOf" srcId="{B11390F0-CA24-4049-A2EE-3F11E088EF46}" destId="{8D246A72-A336-4877-9F07-231CC041AFE2}" srcOrd="1" destOrd="0" presId="urn:microsoft.com/office/officeart/2008/layout/CaptionedPictures"/>
    <dgm:cxn modelId="{C592F6CF-0B71-429C-A8EE-3ADC23D088D6}" type="presParOf" srcId="{B11390F0-CA24-4049-A2EE-3F11E088EF46}" destId="{BB360B9C-D1EF-4B73-96AB-2DCFFD697077}" srcOrd="2" destOrd="0" presId="urn:microsoft.com/office/officeart/2008/layout/CaptionedPictures"/>
    <dgm:cxn modelId="{30EDAF6A-DAEA-483B-88F7-401BDF27DA8F}" type="presParOf" srcId="{BB360B9C-D1EF-4B73-96AB-2DCFFD697077}" destId="{7D70EE15-AD3E-42FC-AFD5-3DFB9F4391D5}" srcOrd="0" destOrd="0" presId="urn:microsoft.com/office/officeart/2008/layout/CaptionedPictures"/>
    <dgm:cxn modelId="{9029B11E-48A0-41F3-BF6E-2A9D0CBF7ECD}" type="presParOf" srcId="{BB360B9C-D1EF-4B73-96AB-2DCFFD697077}" destId="{BA0D69BA-633D-4848-B525-9BB2FA6DC8C0}" srcOrd="1" destOrd="0" presId="urn:microsoft.com/office/officeart/2008/layout/CaptionedPictures"/>
    <dgm:cxn modelId="{8BE6AB71-27F7-48D2-B396-614C2D939B62}" type="presParOf" srcId="{695B0E87-DC40-43FA-BFE2-3B85A8452808}" destId="{738E8E55-5CCB-4C00-AD44-666FF6C7BD52}" srcOrd="3" destOrd="0" presId="urn:microsoft.com/office/officeart/2008/layout/CaptionedPictures"/>
    <dgm:cxn modelId="{C57FE0AF-303F-4CDD-A9F6-3F29A690B5BE}" type="presParOf" srcId="{695B0E87-DC40-43FA-BFE2-3B85A8452808}" destId="{9CA2A9D4-5EC4-4B88-8043-2C280BC25904}" srcOrd="4" destOrd="0" presId="urn:microsoft.com/office/officeart/2008/layout/CaptionedPictures"/>
    <dgm:cxn modelId="{13039407-8EA7-45F9-B006-C26D9298388E}" type="presParOf" srcId="{9CA2A9D4-5EC4-4B88-8043-2C280BC25904}" destId="{E471BEAA-C883-47EC-8B5C-B528FB33F9B3}" srcOrd="0" destOrd="0" presId="urn:microsoft.com/office/officeart/2008/layout/CaptionedPictures"/>
    <dgm:cxn modelId="{F0814052-6711-45A0-B6A1-271F91CF3FFF}" type="presParOf" srcId="{9CA2A9D4-5EC4-4B88-8043-2C280BC25904}" destId="{D7A9219E-3A7D-4BA6-B415-CBD4D7F5DA5D}" srcOrd="1" destOrd="0" presId="urn:microsoft.com/office/officeart/2008/layout/CaptionedPictures"/>
    <dgm:cxn modelId="{AAEF46C0-253C-4D13-96EC-B541CE3D4330}" type="presParOf" srcId="{9CA2A9D4-5EC4-4B88-8043-2C280BC25904}" destId="{2398AB57-0A36-485C-B079-0439C2A0F75D}" srcOrd="2" destOrd="0" presId="urn:microsoft.com/office/officeart/2008/layout/CaptionedPictures"/>
    <dgm:cxn modelId="{469C9513-B386-4FC0-AD38-F76D6517824B}" type="presParOf" srcId="{2398AB57-0A36-485C-B079-0439C2A0F75D}" destId="{D7CF4524-83C9-4CD6-9A27-65A864EE5FF4}" srcOrd="0" destOrd="0" presId="urn:microsoft.com/office/officeart/2008/layout/CaptionedPictures"/>
    <dgm:cxn modelId="{89CEF937-48C1-4A3C-AAE0-7F4E693F236C}" type="presParOf" srcId="{2398AB57-0A36-485C-B079-0439C2A0F75D}" destId="{F4EDFA7D-7255-4335-8F51-F699FD0C2BFD}" srcOrd="1" destOrd="0" presId="urn:microsoft.com/office/officeart/2008/layout/CaptionedPicture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9B11A9-CD5C-4A0F-889A-4578D7D08EC6}">
      <dsp:nvSpPr>
        <dsp:cNvPr id="0" name=""/>
        <dsp:cNvSpPr/>
      </dsp:nvSpPr>
      <dsp:spPr>
        <a:xfrm>
          <a:off x="2447001" y="1580461"/>
          <a:ext cx="1201996" cy="120199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kern="1200" dirty="0"/>
            <a:t>SUPPLY </a:t>
          </a:r>
          <a:r>
            <a:rPr lang="fr-FR" sz="1000" kern="1200"/>
            <a:t>CHAIN OPTIMIZATION</a:t>
          </a:r>
          <a:endParaRPr lang="fr-FR" sz="1000" kern="1200" dirty="0"/>
        </a:p>
      </dsp:txBody>
      <dsp:txXfrm>
        <a:off x="2623029" y="1756489"/>
        <a:ext cx="849940" cy="849940"/>
      </dsp:txXfrm>
    </dsp:sp>
    <dsp:sp modelId="{A7273D20-D213-4020-B2B6-EEC3AAF2CF9C}">
      <dsp:nvSpPr>
        <dsp:cNvPr id="0" name=""/>
        <dsp:cNvSpPr/>
      </dsp:nvSpPr>
      <dsp:spPr>
        <a:xfrm rot="16200000">
          <a:off x="2866418" y="1381133"/>
          <a:ext cx="363163" cy="35492"/>
        </a:xfrm>
        <a:custGeom>
          <a:avLst/>
          <a:gdLst/>
          <a:ahLst/>
          <a:cxnLst/>
          <a:rect l="0" t="0" r="0" b="0"/>
          <a:pathLst>
            <a:path>
              <a:moveTo>
                <a:pt x="0" y="17746"/>
              </a:moveTo>
              <a:lnTo>
                <a:pt x="363163" y="17746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3038920" y="1389800"/>
        <a:ext cx="18158" cy="18158"/>
      </dsp:txXfrm>
    </dsp:sp>
    <dsp:sp modelId="{EC2E52A8-861A-4A8A-94B4-DBB502DC9E6A}">
      <dsp:nvSpPr>
        <dsp:cNvPr id="0" name=""/>
        <dsp:cNvSpPr/>
      </dsp:nvSpPr>
      <dsp:spPr>
        <a:xfrm>
          <a:off x="2447001" y="15301"/>
          <a:ext cx="1201996" cy="1201996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kern="1200" dirty="0"/>
            <a:t>Rationalisation des outils de commande</a:t>
          </a:r>
        </a:p>
      </dsp:txBody>
      <dsp:txXfrm>
        <a:off x="2623029" y="191329"/>
        <a:ext cx="849940" cy="849940"/>
      </dsp:txXfrm>
    </dsp:sp>
    <dsp:sp modelId="{BBF88232-7E56-4684-9BB7-D6F443FA19FF}">
      <dsp:nvSpPr>
        <dsp:cNvPr id="0" name=""/>
        <dsp:cNvSpPr/>
      </dsp:nvSpPr>
      <dsp:spPr>
        <a:xfrm rot="20520000">
          <a:off x="3610696" y="1921882"/>
          <a:ext cx="363163" cy="35492"/>
        </a:xfrm>
        <a:custGeom>
          <a:avLst/>
          <a:gdLst/>
          <a:ahLst/>
          <a:cxnLst/>
          <a:rect l="0" t="0" r="0" b="0"/>
          <a:pathLst>
            <a:path>
              <a:moveTo>
                <a:pt x="0" y="17746"/>
              </a:moveTo>
              <a:lnTo>
                <a:pt x="363163" y="17746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3783198" y="1930549"/>
        <a:ext cx="18158" cy="18158"/>
      </dsp:txXfrm>
    </dsp:sp>
    <dsp:sp modelId="{949588A5-478E-44BC-9C94-896385A722D5}">
      <dsp:nvSpPr>
        <dsp:cNvPr id="0" name=""/>
        <dsp:cNvSpPr/>
      </dsp:nvSpPr>
      <dsp:spPr>
        <a:xfrm>
          <a:off x="3935557" y="1096800"/>
          <a:ext cx="1201996" cy="120199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kern="1200" dirty="0"/>
            <a:t>Activation des fonctionnalités MRP,ATP</a:t>
          </a:r>
        </a:p>
      </dsp:txBody>
      <dsp:txXfrm>
        <a:off x="4111585" y="1272828"/>
        <a:ext cx="849940" cy="849940"/>
      </dsp:txXfrm>
    </dsp:sp>
    <dsp:sp modelId="{031CF886-53F0-43D5-8833-1B21421356A4}">
      <dsp:nvSpPr>
        <dsp:cNvPr id="0" name=""/>
        <dsp:cNvSpPr/>
      </dsp:nvSpPr>
      <dsp:spPr>
        <a:xfrm rot="3300164">
          <a:off x="3315414" y="2804484"/>
          <a:ext cx="362425" cy="35492"/>
        </a:xfrm>
        <a:custGeom>
          <a:avLst/>
          <a:gdLst/>
          <a:ahLst/>
          <a:cxnLst/>
          <a:rect l="0" t="0" r="0" b="0"/>
          <a:pathLst>
            <a:path>
              <a:moveTo>
                <a:pt x="0" y="17746"/>
              </a:moveTo>
              <a:lnTo>
                <a:pt x="362425" y="17746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3487566" y="2813169"/>
        <a:ext cx="18121" cy="18121"/>
      </dsp:txXfrm>
    </dsp:sp>
    <dsp:sp modelId="{99FC228D-5021-49DD-BEE7-DEB0427DEF79}">
      <dsp:nvSpPr>
        <dsp:cNvPr id="0" name=""/>
        <dsp:cNvSpPr/>
      </dsp:nvSpPr>
      <dsp:spPr>
        <a:xfrm>
          <a:off x="3344256" y="2862003"/>
          <a:ext cx="1201996" cy="120199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kern="1200" dirty="0"/>
            <a:t>Maturité sur les process standards</a:t>
          </a:r>
        </a:p>
      </dsp:txBody>
      <dsp:txXfrm>
        <a:off x="3520284" y="3038031"/>
        <a:ext cx="849940" cy="849940"/>
      </dsp:txXfrm>
    </dsp:sp>
    <dsp:sp modelId="{BE957D58-54FE-4480-A785-E553CA6E469B}">
      <dsp:nvSpPr>
        <dsp:cNvPr id="0" name=""/>
        <dsp:cNvSpPr/>
      </dsp:nvSpPr>
      <dsp:spPr>
        <a:xfrm rot="7584298">
          <a:off x="2380350" y="2804484"/>
          <a:ext cx="390293" cy="35492"/>
        </a:xfrm>
        <a:custGeom>
          <a:avLst/>
          <a:gdLst/>
          <a:ahLst/>
          <a:cxnLst/>
          <a:rect l="0" t="0" r="0" b="0"/>
          <a:pathLst>
            <a:path>
              <a:moveTo>
                <a:pt x="0" y="17746"/>
              </a:moveTo>
              <a:lnTo>
                <a:pt x="390293" y="17746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 rot="10800000">
        <a:off x="2565739" y="2812473"/>
        <a:ext cx="19514" cy="19514"/>
      </dsp:txXfrm>
    </dsp:sp>
    <dsp:sp modelId="{C84BBD62-D840-443C-9343-D78DA79863DA}">
      <dsp:nvSpPr>
        <dsp:cNvPr id="0" name=""/>
        <dsp:cNvSpPr/>
      </dsp:nvSpPr>
      <dsp:spPr>
        <a:xfrm>
          <a:off x="1501995" y="2862003"/>
          <a:ext cx="1201996" cy="1201996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kern="1200" dirty="0"/>
            <a:t>Gestion de données de base</a:t>
          </a:r>
        </a:p>
      </dsp:txBody>
      <dsp:txXfrm>
        <a:off x="1678023" y="3038031"/>
        <a:ext cx="849940" cy="849940"/>
      </dsp:txXfrm>
    </dsp:sp>
    <dsp:sp modelId="{2AF948AE-72B8-4F85-BC1B-7C336562C997}">
      <dsp:nvSpPr>
        <dsp:cNvPr id="0" name=""/>
        <dsp:cNvSpPr/>
      </dsp:nvSpPr>
      <dsp:spPr>
        <a:xfrm rot="11880000">
          <a:off x="2122140" y="1921882"/>
          <a:ext cx="363163" cy="35492"/>
        </a:xfrm>
        <a:custGeom>
          <a:avLst/>
          <a:gdLst/>
          <a:ahLst/>
          <a:cxnLst/>
          <a:rect l="0" t="0" r="0" b="0"/>
          <a:pathLst>
            <a:path>
              <a:moveTo>
                <a:pt x="0" y="17746"/>
              </a:moveTo>
              <a:lnTo>
                <a:pt x="363163" y="17746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 rot="10800000">
        <a:off x="2294643" y="1930549"/>
        <a:ext cx="18158" cy="18158"/>
      </dsp:txXfrm>
    </dsp:sp>
    <dsp:sp modelId="{9FE59560-A962-499A-900E-92514ADD4330}">
      <dsp:nvSpPr>
        <dsp:cNvPr id="0" name=""/>
        <dsp:cNvSpPr/>
      </dsp:nvSpPr>
      <dsp:spPr>
        <a:xfrm>
          <a:off x="958446" y="1096800"/>
          <a:ext cx="1201996" cy="120199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kern="1200" dirty="0"/>
            <a:t>PO/SO VS STO</a:t>
          </a:r>
        </a:p>
      </dsp:txBody>
      <dsp:txXfrm>
        <a:off x="1134474" y="1272828"/>
        <a:ext cx="849940" cy="8499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BA4152-6D2A-4760-ACEF-ED1B5167E9C4}">
      <dsp:nvSpPr>
        <dsp:cNvPr id="0" name=""/>
        <dsp:cNvSpPr/>
      </dsp:nvSpPr>
      <dsp:spPr>
        <a:xfrm>
          <a:off x="5357" y="964406"/>
          <a:ext cx="1814909" cy="213518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26D594-429E-47AD-A23D-8A6097A10892}">
      <dsp:nvSpPr>
        <dsp:cNvPr id="0" name=""/>
        <dsp:cNvSpPr/>
      </dsp:nvSpPr>
      <dsp:spPr>
        <a:xfrm>
          <a:off x="96103" y="1049813"/>
          <a:ext cx="1633418" cy="138787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7ABD9D-ED09-4D2F-9C13-D4CF792FAB05}">
      <dsp:nvSpPr>
        <dsp:cNvPr id="0" name=""/>
        <dsp:cNvSpPr/>
      </dsp:nvSpPr>
      <dsp:spPr>
        <a:xfrm>
          <a:off x="96103" y="2437685"/>
          <a:ext cx="1633418" cy="576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kern="1200" dirty="0"/>
            <a:t>Problèmes d’uniformisation des processus d’achat et de gestion des stocks</a:t>
          </a:r>
        </a:p>
      </dsp:txBody>
      <dsp:txXfrm>
        <a:off x="96103" y="2437685"/>
        <a:ext cx="1633418" cy="576500"/>
      </dsp:txXfrm>
    </dsp:sp>
    <dsp:sp modelId="{475FE16F-B7B1-4343-A22E-4FB29BEC64CA}">
      <dsp:nvSpPr>
        <dsp:cNvPr id="0" name=""/>
        <dsp:cNvSpPr/>
      </dsp:nvSpPr>
      <dsp:spPr>
        <a:xfrm>
          <a:off x="2140545" y="964406"/>
          <a:ext cx="1814909" cy="213518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246A72-A336-4877-9F07-231CC041AFE2}">
      <dsp:nvSpPr>
        <dsp:cNvPr id="0" name=""/>
        <dsp:cNvSpPr/>
      </dsp:nvSpPr>
      <dsp:spPr>
        <a:xfrm>
          <a:off x="2231290" y="1049813"/>
          <a:ext cx="1633418" cy="1387871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6000" b="-6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0D69BA-633D-4848-B525-9BB2FA6DC8C0}">
      <dsp:nvSpPr>
        <dsp:cNvPr id="0" name=""/>
        <dsp:cNvSpPr/>
      </dsp:nvSpPr>
      <dsp:spPr>
        <a:xfrm>
          <a:off x="2231290" y="2437685"/>
          <a:ext cx="1633418" cy="576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kern="1200" dirty="0"/>
            <a:t>Difficultés dans la gestion des commandes clients et des données clients</a:t>
          </a:r>
        </a:p>
      </dsp:txBody>
      <dsp:txXfrm>
        <a:off x="2231290" y="2437685"/>
        <a:ext cx="1633418" cy="576500"/>
      </dsp:txXfrm>
    </dsp:sp>
    <dsp:sp modelId="{E471BEAA-C883-47EC-8B5C-B528FB33F9B3}">
      <dsp:nvSpPr>
        <dsp:cNvPr id="0" name=""/>
        <dsp:cNvSpPr/>
      </dsp:nvSpPr>
      <dsp:spPr>
        <a:xfrm>
          <a:off x="4275732" y="964406"/>
          <a:ext cx="1814909" cy="213518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A9219E-3A7D-4BA6-B415-CBD4D7F5DA5D}">
      <dsp:nvSpPr>
        <dsp:cNvPr id="0" name=""/>
        <dsp:cNvSpPr/>
      </dsp:nvSpPr>
      <dsp:spPr>
        <a:xfrm>
          <a:off x="4366478" y="1049813"/>
          <a:ext cx="1633418" cy="138787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EDFA7D-7255-4335-8F51-F699FD0C2BFD}">
      <dsp:nvSpPr>
        <dsp:cNvPr id="0" name=""/>
        <dsp:cNvSpPr/>
      </dsp:nvSpPr>
      <dsp:spPr>
        <a:xfrm>
          <a:off x="4366478" y="2437685"/>
          <a:ext cx="1633418" cy="576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900" kern="1200" dirty="0"/>
            <a:t>Manque de visibilité en temps réel sur les stocks dans les différents entrepôts régionaux</a:t>
          </a:r>
        </a:p>
      </dsp:txBody>
      <dsp:txXfrm>
        <a:off x="4366478" y="2437685"/>
        <a:ext cx="1633418" cy="5765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aptionedPictures">
  <dgm:title val=""/>
  <dgm:desc val=""/>
  <dgm:catLst>
    <dgm:cat type="picture" pri="5000"/>
    <dgm:cat type="pictureconvert" pri="5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  <dgm:cxn modelId="90" srcId="0" destId="40" srcOrd="3" destOrd="0"/>
        <dgm:cxn modelId="42" srcId="40" destId="4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grDir" val="tR"/>
          <dgm:param type="off" val="c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op="equ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varLst>
          <dgm:chMax val="1"/>
          <dgm:chPref val="1"/>
        </dgm:varLst>
        <dgm:alg type="composite">
          <dgm:param type="ar" val="0.85"/>
        </dgm:alg>
        <dgm:shape xmlns:r="http://schemas.openxmlformats.org/officeDocument/2006/relationships" r:blip="">
          <dgm:adjLst/>
        </dgm:shape>
        <dgm:constrLst>
          <dgm:constr type="l" for="ch" forName="Accent" refType="w" fact="0"/>
          <dgm:constr type="t" for="ch" forName="Accent" refType="h" fact="0"/>
          <dgm:constr type="w" for="ch" forName="Accent" refType="w"/>
          <dgm:constr type="h" for="ch" forName="Accent" refType="h"/>
          <dgm:constr type="l" for="ch" forName="Image" refType="w" fact="0.05"/>
          <dgm:constr type="t" for="ch" forName="Image" refType="h" fact="0.04"/>
          <dgm:constr type="w" for="ch" forName="Image" refType="w" fact="0.9"/>
          <dgm:constr type="h" for="ch" forName="Image" refType="h" fact="0.65"/>
          <dgm:constr type="l" for="ch" forName="ChildComposite" refType="w" fact="0.05"/>
          <dgm:constr type="t" for="ch" forName="ChildComposite" refType="h" fact="0.69"/>
          <dgm:constr type="w" for="ch" forName="ChildComposite" refType="w" fact="0.9"/>
          <dgm:constr type="h" for="ch" forName="ChildComposite" refType="h" fact="0.27"/>
        </dgm:constrLst>
        <dgm:layoutNode name="Accent" styleLbl="trAlignAcc1">
          <dgm:varLst>
            <dgm:chMax val="0"/>
            <dgm:chPref val="0"/>
          </dgm:varLst>
          <dgm:alg type="sp"/>
          <dgm:shape xmlns:r="http://schemas.openxmlformats.org/officeDocument/2006/relationships" type="rect" r:blip="">
            <dgm:adjLst/>
          </dgm:shape>
          <dgm:presOf/>
        </dgm:layoutNode>
        <dgm:layoutNode name="Image" styleLbl="alignImgPlace1">
          <dgm:varLst>
            <dgm:chMax val="0"/>
            <dgm:chPref val="0"/>
          </dgm:varLst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ChildComposite">
          <dgm:alg type="composite"/>
          <dgm:shape xmlns:r="http://schemas.openxmlformats.org/officeDocument/2006/relationships" r:blip="">
            <dgm:adjLst/>
          </dgm:shape>
          <dgm:choose name="Name4">
            <dgm:if name="Name5" axis="ch" ptType="node" func="cnt" op="gte" val="1">
              <dgm:constrLst>
                <dgm:constr type="l" for="ch" forName="Parent" refType="w" fact="0"/>
                <dgm:constr type="t" for="ch" forName="Parent" refType="h" fact="0"/>
                <dgm:constr type="w" for="ch" forName="Parent" refType="w"/>
                <dgm:constr type="h" for="ch" forName="Parent" refType="h" fact="0.3704"/>
                <dgm:constr type="l" for="ch" forName="Child" refType="w" fact="0"/>
                <dgm:constr type="t" for="ch" forName="Child" refType="h" fact="0.3704"/>
                <dgm:constr type="w" for="ch" forName="Child" refType="w"/>
                <dgm:constr type="h" for="ch" forName="Child" refType="h" fact="0.6296"/>
              </dgm:constrLst>
            </dgm:if>
            <dgm:else name="Name6">
              <dgm:constrLst>
                <dgm:constr type="l" for="ch" forName="Parent" refType="w" fact="0"/>
                <dgm:constr type="t" for="ch" forName="Parent" refType="h" fact="0"/>
                <dgm:constr type="w" for="ch" forName="Parent" refType="w"/>
                <dgm:constr type="h" for="ch" forName="Parent" refType="h"/>
                <dgm:constr type="l" for="ch" forName="Child" refType="w" fact="0"/>
                <dgm:constr type="t" for="ch" forName="Child" refType="h" fact="0"/>
                <dgm:constr type="w" for="ch" forName="Child" refType="w" fact="0"/>
                <dgm:constr type="h" for="ch" forName="Child" refType="h" fact="0"/>
              </dgm:constrLst>
            </dgm:else>
          </dgm:choose>
          <dgm:layoutNode name="Child" styleLbl="node1">
            <dgm:varLst>
              <dgm:chMax val="0"/>
              <dgm:chPref val="0"/>
              <dgm:bulletEnabled val="1"/>
            </dgm:varLst>
            <dgm:choose name="Name7">
              <dgm:if name="Name8" axis="ch" ptType="node" func="cnt" op="gt" val="1">
                <dgm:alg type="tx">
                  <dgm:param type="parTxLTRAlign" val="l"/>
                  <dgm:param type="parTxRTLAlign" val="r"/>
                  <dgm:param type="txAnchorVert" val="mid"/>
                  <dgm:param type="txAnchorVertCh" val="mid"/>
                </dgm:alg>
              </dgm:if>
              <dgm:else name="Name9">
                <dgm:alg type="tx">
                  <dgm:param type="parTxLTRAlign" val="ctr"/>
                  <dgm:param type="parTxRTLAlign" val="ctr"/>
                  <dgm:param type="shpTxLTRAlignCh" val="l"/>
                  <dgm:param type="shpTxRTLAlignCh" val="r"/>
                  <dgm:param type="txAnchorVert" val="mid"/>
                  <dgm:param type="txAnchorVertCh" val="mid"/>
                </dgm:alg>
              </dgm:else>
            </dgm:choose>
            <dgm:choose name="Name10">
              <dgm:if name="Name11" axis="ch" ptType="node" func="cnt" op="gte" val="1">
                <dgm:shape xmlns:r="http://schemas.openxmlformats.org/officeDocument/2006/relationships" type="rect" r:blip="">
                  <dgm:adjLst/>
                </dgm:shape>
              </dgm:if>
              <dgm:else name="Name12">
                <dgm:shape xmlns:r="http://schemas.openxmlformats.org/officeDocument/2006/relationships" type="rect" r:blip="" hideGeom="1">
                  <dgm:adjLst/>
                </dgm:shape>
              </dgm:else>
            </dgm:choose>
            <dgm:choose name="Name13">
              <dgm:if name="Name14" axis="ch" ptType="node" func="cnt" op="gte" val="1">
                <dgm:presOf axis="des" ptType="node"/>
              </dgm:if>
              <dgm:else name="Name15">
                <dgm:presOf/>
              </dgm:else>
            </dgm:choose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Parent" styleLbl="revTx">
            <dgm:varLst>
              <dgm:chMax val="1"/>
              <dgm:chPref val="0"/>
              <dgm:bulletEnabled val="1"/>
            </dgm:varLst>
            <dgm:alg type="tx">
              <dgm:param type="shpTxLTRAlignCh" val="ctr"/>
              <dgm:param type="txAnchorVert" val="mid"/>
            </dgm:alg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3897C6-4B67-4483-BB5D-A568E0B22CD7}" type="datetimeFigureOut">
              <a:rPr lang="fr-FR" smtClean="0"/>
              <a:t>09/10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F90F1F-6F98-4732-A931-7D156E1E748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3808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962589-2883-EF4C-AFDB-F46E7ED593D2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1245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algn="just">
              <a:buFont typeface="Arial"/>
              <a:buChar char="•"/>
            </a:pPr>
            <a:r>
              <a:rPr lang="en-US"/>
              <a:t>Gestion de la Master Data :</a:t>
            </a:r>
          </a:p>
          <a:p>
            <a:pPr lvl="1" indent="-171450" algn="just">
              <a:buFont typeface="Arial"/>
              <a:buChar char="•"/>
            </a:pPr>
            <a:r>
              <a:rPr lang="en-US"/>
              <a:t>Des </a:t>
            </a:r>
            <a:r>
              <a:rPr lang="en-US" err="1"/>
              <a:t>éléments</a:t>
            </a:r>
            <a:r>
              <a:rPr lang="en-US"/>
              <a:t> </a:t>
            </a:r>
            <a:r>
              <a:rPr lang="en-US" err="1"/>
              <a:t>d’amélioration</a:t>
            </a:r>
            <a:r>
              <a:rPr lang="en-US"/>
              <a:t> </a:t>
            </a:r>
            <a:r>
              <a:rPr lang="en-US" err="1"/>
              <a:t>ont</a:t>
            </a:r>
            <a:r>
              <a:rPr lang="en-US"/>
              <a:t> </a:t>
            </a:r>
            <a:r>
              <a:rPr lang="en-US" err="1"/>
              <a:t>été</a:t>
            </a:r>
            <a:r>
              <a:rPr lang="en-US"/>
              <a:t> </a:t>
            </a:r>
            <a:r>
              <a:rPr lang="en-US" err="1"/>
              <a:t>mentionnés</a:t>
            </a:r>
            <a:r>
              <a:rPr lang="en-US"/>
              <a:t> </a:t>
            </a:r>
            <a:r>
              <a:rPr lang="en-US" err="1"/>
              <a:t>concernant</a:t>
            </a:r>
            <a:r>
              <a:rPr lang="en-US"/>
              <a:t> la </a:t>
            </a:r>
            <a:r>
              <a:rPr lang="en-US" err="1"/>
              <a:t>création</a:t>
            </a:r>
            <a:r>
              <a:rPr lang="en-US"/>
              <a:t> et la gestion des clients : </a:t>
            </a:r>
            <a:endParaRPr lang="en-US">
              <a:ea typeface="Calibri"/>
              <a:cs typeface="Calibri"/>
            </a:endParaRPr>
          </a:p>
          <a:p>
            <a:pPr lvl="2" indent="-171450" algn="just">
              <a:buFont typeface="Wingdings"/>
              <a:buChar char="§"/>
            </a:pPr>
            <a:r>
              <a:rPr lang="en-US"/>
              <a:t>Flux de </a:t>
            </a:r>
            <a:r>
              <a:rPr lang="en-US" err="1"/>
              <a:t>création</a:t>
            </a:r>
            <a:r>
              <a:rPr lang="en-US"/>
              <a:t>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amont</a:t>
            </a:r>
          </a:p>
          <a:p>
            <a:pPr lvl="2" indent="-171450" algn="just">
              <a:buFont typeface="Wingdings"/>
              <a:buChar char="§"/>
            </a:pPr>
            <a:r>
              <a:rPr lang="en-US"/>
              <a:t>Client B2C (chantiers à </a:t>
            </a:r>
            <a:r>
              <a:rPr lang="en-US" err="1"/>
              <a:t>prévoir</a:t>
            </a:r>
            <a:r>
              <a:rPr lang="en-US"/>
              <a:t>)</a:t>
            </a:r>
          </a:p>
          <a:p>
            <a:pPr lvl="2" indent="-171450" algn="just">
              <a:buFont typeface="Wingdings"/>
              <a:buChar char="§"/>
            </a:pPr>
            <a:r>
              <a:rPr lang="en-US" err="1"/>
              <a:t>Gouvernance</a:t>
            </a:r>
            <a:r>
              <a:rPr lang="en-US"/>
              <a:t> à </a:t>
            </a:r>
            <a:r>
              <a:rPr lang="en-US" err="1"/>
              <a:t>déterminer</a:t>
            </a:r>
            <a:r>
              <a:rPr lang="en-US"/>
              <a:t> </a:t>
            </a:r>
            <a:r>
              <a:rPr lang="en-US" err="1"/>
              <a:t>mais</a:t>
            </a:r>
            <a:r>
              <a:rPr lang="en-US"/>
              <a:t> </a:t>
            </a:r>
            <a:r>
              <a:rPr lang="en-US" err="1"/>
              <a:t>présentant</a:t>
            </a:r>
            <a:r>
              <a:rPr lang="en-US"/>
              <a:t> un certain </a:t>
            </a:r>
            <a:r>
              <a:rPr lang="en-US" err="1"/>
              <a:t>nombre</a:t>
            </a:r>
            <a:r>
              <a:rPr lang="en-US"/>
              <a:t> de </a:t>
            </a:r>
            <a:r>
              <a:rPr lang="en-US" err="1"/>
              <a:t>complexités</a:t>
            </a:r>
            <a:r>
              <a:rPr lang="en-US"/>
              <a:t> (métiers </a:t>
            </a:r>
            <a:r>
              <a:rPr lang="en-US" err="1"/>
              <a:t>différents</a:t>
            </a:r>
            <a:r>
              <a:rPr lang="en-US"/>
              <a:t>, </a:t>
            </a:r>
            <a:r>
              <a:rPr lang="en-US" err="1"/>
              <a:t>cas</a:t>
            </a:r>
            <a:r>
              <a:rPr lang="en-US"/>
              <a:t> </a:t>
            </a:r>
            <a:r>
              <a:rPr lang="en-US" err="1"/>
              <a:t>d’exception</a:t>
            </a:r>
            <a:r>
              <a:rPr lang="en-US"/>
              <a:t>, inexistence d’un </a:t>
            </a:r>
            <a:r>
              <a:rPr lang="en-US" err="1"/>
              <a:t>référentiel</a:t>
            </a:r>
            <a:r>
              <a:rPr lang="en-US"/>
              <a:t> pour </a:t>
            </a:r>
            <a:r>
              <a:rPr lang="en-US" err="1"/>
              <a:t>certains</a:t>
            </a:r>
            <a:r>
              <a:rPr lang="en-US"/>
              <a:t> types de clients, etc.) </a:t>
            </a:r>
          </a:p>
          <a:p>
            <a:pPr lvl="2" indent="-171450" algn="just">
              <a:buFont typeface="Wingdings"/>
              <a:buChar char="§"/>
            </a:pPr>
            <a:r>
              <a:rPr lang="en-US"/>
              <a:t>Lien avec le </a:t>
            </a:r>
            <a:r>
              <a:rPr lang="en-US" err="1"/>
              <a:t>projet</a:t>
            </a:r>
            <a:r>
              <a:rPr lang="en-US"/>
              <a:t> Client 360 </a:t>
            </a:r>
            <a:endParaRPr lang="en-US">
              <a:ea typeface="Calibri"/>
              <a:cs typeface="Calibri"/>
            </a:endParaRPr>
          </a:p>
          <a:p>
            <a:pPr lvl="2" indent="-171450" algn="just">
              <a:buFont typeface="Wingdings"/>
              <a:buChar char="§"/>
            </a:pPr>
            <a:r>
              <a:rPr lang="en-US"/>
              <a:t>Lien avec les CRM (</a:t>
            </a:r>
            <a:r>
              <a:rPr lang="en-US" err="1"/>
              <a:t>notamment</a:t>
            </a:r>
            <a:r>
              <a:rPr lang="en-US"/>
              <a:t> pour les </a:t>
            </a:r>
            <a:r>
              <a:rPr lang="en-US" err="1"/>
              <a:t>raccordements</a:t>
            </a:r>
            <a:r>
              <a:rPr lang="en-US"/>
              <a:t>) </a:t>
            </a:r>
          </a:p>
          <a:p>
            <a:pPr lvl="2" indent="-171450" algn="just">
              <a:buFont typeface="Wingdings"/>
              <a:buChar char="§"/>
            </a:pPr>
            <a:endParaRPr lang="en-US"/>
          </a:p>
          <a:p>
            <a:pPr lvl="1" indent="-171450" algn="just">
              <a:buFont typeface="Arial"/>
              <a:buChar char="•"/>
            </a:pPr>
            <a:r>
              <a:rPr lang="en-US"/>
              <a:t>Les </a:t>
            </a:r>
            <a:r>
              <a:rPr lang="en-US" err="1"/>
              <a:t>ordres</a:t>
            </a:r>
            <a:r>
              <a:rPr lang="en-US"/>
              <a:t> internes </a:t>
            </a:r>
            <a:r>
              <a:rPr lang="en-US" err="1"/>
              <a:t>seront</a:t>
            </a:r>
            <a:r>
              <a:rPr lang="en-US"/>
              <a:t> </a:t>
            </a:r>
            <a:r>
              <a:rPr lang="en-US" err="1"/>
              <a:t>remplacés</a:t>
            </a:r>
            <a:r>
              <a:rPr lang="en-US"/>
              <a:t> par les </a:t>
            </a:r>
            <a:r>
              <a:rPr lang="en-US" err="1"/>
              <a:t>eOTP</a:t>
            </a:r>
            <a:r>
              <a:rPr lang="en-US"/>
              <a:t>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cible</a:t>
            </a:r>
            <a:r>
              <a:rPr lang="en-US"/>
              <a:t>.</a:t>
            </a:r>
            <a:endParaRPr lang="en-US">
              <a:ea typeface="Calibri"/>
              <a:cs typeface="Calibri"/>
            </a:endParaRPr>
          </a:p>
          <a:p>
            <a:pPr marL="171450" indent="-171450" algn="just">
              <a:buFont typeface="Arial"/>
              <a:buChar char="•"/>
            </a:pPr>
            <a:r>
              <a:rPr lang="en-US"/>
              <a:t>Les </a:t>
            </a:r>
            <a:r>
              <a:rPr lang="en-US" err="1"/>
              <a:t>fonctionnalités</a:t>
            </a:r>
            <a:r>
              <a:rPr lang="en-US"/>
              <a:t> de relance client et gestion du </a:t>
            </a:r>
            <a:r>
              <a:rPr lang="en-US" err="1"/>
              <a:t>contentieux</a:t>
            </a:r>
            <a:r>
              <a:rPr lang="en-US"/>
              <a:t> </a:t>
            </a:r>
            <a:r>
              <a:rPr lang="en-US" err="1"/>
              <a:t>seront</a:t>
            </a:r>
            <a:r>
              <a:rPr lang="en-US"/>
              <a:t> à prendre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compte</a:t>
            </a:r>
            <a:r>
              <a:rPr lang="en-US"/>
              <a:t>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cible</a:t>
            </a:r>
            <a:r>
              <a:rPr lang="en-US"/>
              <a:t>.</a:t>
            </a:r>
            <a:endParaRPr lang="en-US">
              <a:ea typeface="Calibri"/>
              <a:cs typeface="Calibri"/>
            </a:endParaRPr>
          </a:p>
          <a:p>
            <a:pPr marL="171450" indent="-171450" algn="just">
              <a:buFont typeface="Arial"/>
              <a:buChar char="•"/>
            </a:pPr>
            <a:r>
              <a:rPr lang="en-US" err="1"/>
              <a:t>Facturation</a:t>
            </a:r>
            <a:r>
              <a:rPr lang="en-US"/>
              <a:t> : </a:t>
            </a:r>
          </a:p>
          <a:p>
            <a:pPr lvl="1" indent="-171450" algn="just">
              <a:buFont typeface="Arial"/>
              <a:buChar char="•"/>
            </a:pPr>
            <a:r>
              <a:rPr lang="en-US"/>
              <a:t>Il sera pertinent de comparer le </a:t>
            </a:r>
            <a:r>
              <a:rPr lang="en-US" err="1"/>
              <a:t>périmètre</a:t>
            </a:r>
            <a:r>
              <a:rPr lang="en-US"/>
              <a:t> </a:t>
            </a:r>
            <a:r>
              <a:rPr lang="en-US" err="1"/>
              <a:t>fonctionnel</a:t>
            </a:r>
            <a:r>
              <a:rPr lang="en-US"/>
              <a:t> de </a:t>
            </a:r>
            <a:r>
              <a:rPr lang="en-US" err="1"/>
              <a:t>l’application</a:t>
            </a:r>
            <a:r>
              <a:rPr lang="en-US"/>
              <a:t> GRP au standard SAP.</a:t>
            </a:r>
          </a:p>
          <a:p>
            <a:pPr lvl="1" indent="-171450" algn="just">
              <a:buFont typeface="Arial"/>
              <a:buChar char="•"/>
            </a:pPr>
            <a:r>
              <a:rPr lang="en-US"/>
              <a:t>Il </a:t>
            </a:r>
            <a:r>
              <a:rPr lang="en-US" err="1"/>
              <a:t>est</a:t>
            </a:r>
            <a:r>
              <a:rPr lang="en-US"/>
              <a:t> à noter </a:t>
            </a:r>
            <a:r>
              <a:rPr lang="en-US" err="1"/>
              <a:t>qu’une</a:t>
            </a:r>
            <a:r>
              <a:rPr lang="en-US"/>
              <a:t> initiative </a:t>
            </a:r>
            <a:r>
              <a:rPr lang="en-US" err="1"/>
              <a:t>est</a:t>
            </a:r>
            <a:r>
              <a:rPr lang="en-US"/>
              <a:t>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cours</a:t>
            </a:r>
            <a:r>
              <a:rPr lang="en-US"/>
              <a:t> pour </a:t>
            </a:r>
            <a:r>
              <a:rPr lang="en-US" err="1"/>
              <a:t>mettre</a:t>
            </a:r>
            <a:r>
              <a:rPr lang="en-US"/>
              <a:t>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œuvre</a:t>
            </a:r>
            <a:r>
              <a:rPr lang="en-US"/>
              <a:t> </a:t>
            </a:r>
            <a:r>
              <a:rPr lang="en-US" err="1"/>
              <a:t>l’automatisation</a:t>
            </a:r>
            <a:r>
              <a:rPr lang="en-US"/>
              <a:t> des factures de </a:t>
            </a:r>
            <a:r>
              <a:rPr lang="en-US" err="1"/>
              <a:t>redevance</a:t>
            </a:r>
            <a:r>
              <a:rPr lang="en-US"/>
              <a:t>.</a:t>
            </a:r>
            <a:endParaRPr lang="en-US">
              <a:ea typeface="Calibri"/>
              <a:cs typeface="Calibri"/>
            </a:endParaRPr>
          </a:p>
          <a:p>
            <a:pPr marL="171450" indent="-171450" algn="just">
              <a:buFont typeface="Arial"/>
              <a:buChar char="•"/>
            </a:pPr>
            <a:r>
              <a:rPr lang="en-US"/>
              <a:t>La </a:t>
            </a:r>
            <a:r>
              <a:rPr lang="en-US" err="1"/>
              <a:t>dématérialisation</a:t>
            </a:r>
            <a:r>
              <a:rPr lang="en-US"/>
              <a:t> sera à </a:t>
            </a:r>
            <a:r>
              <a:rPr lang="en-US" err="1"/>
              <a:t>prévoir</a:t>
            </a:r>
            <a:r>
              <a:rPr lang="en-US"/>
              <a:t>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cible</a:t>
            </a:r>
            <a:r>
              <a:rPr lang="en-US"/>
              <a:t>. </a:t>
            </a:r>
            <a:endParaRPr lang="en-US">
              <a:ea typeface="Calibri"/>
              <a:cs typeface="Calibri"/>
            </a:endParaRPr>
          </a:p>
          <a:p>
            <a:pPr marL="171450" indent="-171450" algn="just">
              <a:buFont typeface="Arial"/>
              <a:buChar char="•"/>
            </a:pPr>
            <a:r>
              <a:rPr lang="en-US"/>
              <a:t>La </a:t>
            </a:r>
            <a:r>
              <a:rPr lang="en-US" err="1"/>
              <a:t>réindexation</a:t>
            </a:r>
            <a:r>
              <a:rPr lang="en-US"/>
              <a:t> des prix sur le </a:t>
            </a:r>
            <a:r>
              <a:rPr lang="en-US" err="1"/>
              <a:t>Biométhane</a:t>
            </a:r>
            <a:r>
              <a:rPr lang="en-US"/>
              <a:t> sera à prendre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compte</a:t>
            </a:r>
            <a:r>
              <a:rPr lang="en-US"/>
              <a:t>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cible</a:t>
            </a:r>
            <a:r>
              <a:rPr lang="en-US"/>
              <a:t>.</a:t>
            </a:r>
            <a:endParaRPr lang="en-US">
              <a:ea typeface="Calibri"/>
              <a:cs typeface="Calibri"/>
            </a:endParaRPr>
          </a:p>
          <a:p>
            <a:pPr marL="171450" indent="-171450" algn="just">
              <a:buFont typeface="Arial"/>
              <a:buChar char="•"/>
            </a:pPr>
            <a:r>
              <a:rPr lang="en-US"/>
              <a:t>Les </a:t>
            </a:r>
            <a:r>
              <a:rPr lang="en-US" err="1"/>
              <a:t>fonctionnalités</a:t>
            </a:r>
            <a:r>
              <a:rPr lang="en-US"/>
              <a:t> </a:t>
            </a:r>
            <a:r>
              <a:rPr lang="en-US" err="1"/>
              <a:t>d’indemnisation</a:t>
            </a:r>
            <a:r>
              <a:rPr lang="en-US"/>
              <a:t> client </a:t>
            </a:r>
            <a:r>
              <a:rPr lang="en-US" err="1"/>
              <a:t>seront</a:t>
            </a:r>
            <a:r>
              <a:rPr lang="en-US"/>
              <a:t> à </a:t>
            </a:r>
            <a:r>
              <a:rPr lang="en-US" err="1"/>
              <a:t>reconduire</a:t>
            </a:r>
            <a:r>
              <a:rPr lang="en-US"/>
              <a:t>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cible</a:t>
            </a:r>
            <a:r>
              <a:rPr lang="en-US"/>
              <a:t>. </a:t>
            </a:r>
            <a:r>
              <a:rPr lang="en-US" err="1"/>
              <a:t>Ces</a:t>
            </a:r>
            <a:r>
              <a:rPr lang="en-US"/>
              <a:t> </a:t>
            </a:r>
            <a:r>
              <a:rPr lang="en-US" err="1"/>
              <a:t>dernières</a:t>
            </a:r>
            <a:r>
              <a:rPr lang="en-US"/>
              <a:t> </a:t>
            </a:r>
            <a:r>
              <a:rPr lang="en-US" err="1"/>
              <a:t>sont</a:t>
            </a:r>
            <a:r>
              <a:rPr lang="en-US"/>
              <a:t> </a:t>
            </a:r>
            <a:r>
              <a:rPr lang="en-US" err="1"/>
              <a:t>aujourd’hui</a:t>
            </a:r>
            <a:r>
              <a:rPr lang="en-US"/>
              <a:t> </a:t>
            </a:r>
            <a:r>
              <a:rPr lang="en-US" err="1"/>
              <a:t>gérées</a:t>
            </a:r>
            <a:r>
              <a:rPr lang="en-US"/>
              <a:t> par interface. 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90F1F-6F98-4732-A931-7D156E1E7483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31454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77F3EA7-5824-515D-16B1-539CFE4E65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183402FB-BE41-A853-01AD-7B12C91E2C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47838788-57D0-F7BA-7136-4C0103C8EE7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EE9FBFD-1B5A-BBD0-D0F6-082E7CEB21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962589-2883-EF4C-AFDB-F46E7ED593D2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7568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800"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Orientations techniques </a:t>
            </a:r>
            <a:endParaRPr lang="fr-FR" sz="1800" b="0" i="0" u="none" strike="noStrike" baseline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fr-FR" sz="1800" b="0" i="0" u="none" strike="noStrike" baseline="0" err="1">
                <a:solidFill>
                  <a:srgbClr val="000000"/>
                </a:solidFill>
                <a:latin typeface="Calibri" panose="020F0502020204030204" pitchFamily="34" charset="0"/>
              </a:rPr>
              <a:t>Evaluerl’impact</a:t>
            </a:r>
            <a:r>
              <a:rPr lang="fr-FR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 du changement de modèle de données S/4HANA sur les flux d’échanges de données</a:t>
            </a:r>
          </a:p>
          <a:p>
            <a:r>
              <a:rPr lang="fr-FR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Etudier les compatibilités entre les applications interfacées à l’ERP pour assurer la pérennité de l’écosystème en place</a:t>
            </a:r>
          </a:p>
          <a:p>
            <a:r>
              <a:rPr lang="fr-FR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Etablir la cartographie fonctionnelle et applicative</a:t>
            </a:r>
          </a:p>
          <a:p>
            <a:r>
              <a:rPr lang="fr-FR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Définir les principes directeurs liés à l’alimentation de l’entrepôt de données, quel qu’il soit, dans une réflexion d’ensemble</a:t>
            </a:r>
          </a:p>
          <a:p>
            <a:endParaRPr lang="fr-FR"/>
          </a:p>
          <a:p>
            <a:pPr algn="l"/>
            <a:r>
              <a:rPr lang="fr-FR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Livrables :</a:t>
            </a:r>
          </a:p>
          <a:p>
            <a:r>
              <a:rPr lang="fr-FR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Scénarii S4 </a:t>
            </a:r>
          </a:p>
          <a:p>
            <a:r>
              <a:rPr lang="fr-FR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Dossier d’architecture</a:t>
            </a:r>
          </a:p>
          <a:p>
            <a:endParaRPr lang="fr-FR" sz="1800" b="0" i="0" u="none" strike="noStrike" baseline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90F1F-6F98-4732-A931-7D156E1E7483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446620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800"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Orientations techniques </a:t>
            </a:r>
            <a:endParaRPr lang="fr-FR" sz="1800" b="0" i="0" u="none" strike="noStrike" baseline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fr-FR" sz="1800" b="0" i="0" u="none" strike="noStrike" baseline="0" err="1">
                <a:solidFill>
                  <a:srgbClr val="000000"/>
                </a:solidFill>
                <a:latin typeface="Calibri" panose="020F0502020204030204" pitchFamily="34" charset="0"/>
              </a:rPr>
              <a:t>Evaluerl’impact</a:t>
            </a:r>
            <a:r>
              <a:rPr lang="fr-FR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 du changement de modèle de données S/4HANA sur les flux d’échanges de données</a:t>
            </a:r>
          </a:p>
          <a:p>
            <a:r>
              <a:rPr lang="fr-FR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Etudier les compatibilités entre les applications interfacées à l’ERP pour assurer la pérennité de l’écosystème en place</a:t>
            </a:r>
          </a:p>
          <a:p>
            <a:r>
              <a:rPr lang="fr-FR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Etablir la cartographie fonctionnelle et applicative</a:t>
            </a:r>
          </a:p>
          <a:p>
            <a:r>
              <a:rPr lang="fr-FR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Définir les principes directeurs liés à l’alimentation de l’entrepôt de données, quel qu’il soit, dans une réflexion d’ensemble</a:t>
            </a:r>
          </a:p>
          <a:p>
            <a:endParaRPr lang="fr-FR"/>
          </a:p>
          <a:p>
            <a:pPr algn="l"/>
            <a:r>
              <a:rPr lang="fr-FR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Livrables :</a:t>
            </a:r>
          </a:p>
          <a:p>
            <a:r>
              <a:rPr lang="fr-FR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Scénarii S4 </a:t>
            </a:r>
          </a:p>
          <a:p>
            <a:r>
              <a:rPr lang="fr-FR" sz="1800" b="0" i="0" u="none" strike="noStrike" baseline="0">
                <a:solidFill>
                  <a:srgbClr val="000000"/>
                </a:solidFill>
                <a:latin typeface="Calibri" panose="020F0502020204030204" pitchFamily="34" charset="0"/>
              </a:rPr>
              <a:t>Dossier d’architecture</a:t>
            </a:r>
          </a:p>
          <a:p>
            <a:endParaRPr lang="fr-FR" sz="1800" b="0" i="0" u="none" strike="noStrike" baseline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90F1F-6F98-4732-A931-7D156E1E7483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3987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962589-2883-EF4C-AFDB-F46E7ED593D2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06437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COULEURS  … </a:t>
            </a:r>
          </a:p>
          <a:p>
            <a:endParaRPr lang="fr-FR"/>
          </a:p>
          <a:p>
            <a:r>
              <a:rPr lang="fr-FR"/>
              <a:t>Archi applicative : FI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90F1F-6F98-4732-A931-7D156E1E7483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84495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2EB05F-5E24-D7EF-B8D1-C0C0CD5DB5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A5A444C3-9582-C20D-3748-1A919821EA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109987EF-C2A2-3CF1-56A8-BBF22C62DF3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DBE4C29-E5F7-A7C3-A2C4-59C88C4A67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962589-2883-EF4C-AFDB-F46E7ED593D2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32039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INPUT : </a:t>
            </a:r>
          </a:p>
          <a:p>
            <a:r>
              <a:rPr lang="fr-FR"/>
              <a:t>Processus métier </a:t>
            </a:r>
          </a:p>
          <a:p>
            <a:endParaRPr lang="fr-FR"/>
          </a:p>
          <a:p>
            <a:r>
              <a:rPr lang="fr-FR"/>
              <a:t>1 . Revue de l’existant </a:t>
            </a:r>
          </a:p>
          <a:p>
            <a:r>
              <a:rPr lang="fr-FR"/>
              <a:t>2 . Archi applicative : activité : Atelier avec les </a:t>
            </a:r>
            <a:r>
              <a:rPr lang="fr-FR" err="1"/>
              <a:t>POAs</a:t>
            </a:r>
            <a:r>
              <a:rPr lang="fr-FR"/>
              <a:t> </a:t>
            </a:r>
          </a:p>
          <a:p>
            <a:r>
              <a:rPr lang="fr-FR"/>
              <a:t>3 . Archi </a:t>
            </a:r>
            <a:r>
              <a:rPr lang="fr-FR" err="1"/>
              <a:t>Integration</a:t>
            </a:r>
            <a:r>
              <a:rPr lang="fr-FR"/>
              <a:t> </a:t>
            </a:r>
          </a:p>
          <a:p>
            <a:r>
              <a:rPr lang="fr-FR"/>
              <a:t>4 . Archi DATA </a:t>
            </a:r>
          </a:p>
          <a:p>
            <a:r>
              <a:rPr lang="fr-FR"/>
              <a:t>5 . Archi d’INFRA</a:t>
            </a: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90F1F-6F98-4732-A931-7D156E1E7483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8939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Revue de l’existant </a:t>
            </a:r>
          </a:p>
          <a:p>
            <a:endParaRPr lang="fr-FR"/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F90F1F-6F98-4732-A931-7D156E1E7483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177096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0A591D-E786-4459-BC4B-9BD470E8E4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>
            <a:extLst>
              <a:ext uri="{FF2B5EF4-FFF2-40B4-BE49-F238E27FC236}">
                <a16:creationId xmlns:a16="http://schemas.microsoft.com/office/drawing/2014/main" id="{59480947-32E5-92E1-A354-087F7EF176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>
            <a:extLst>
              <a:ext uri="{FF2B5EF4-FFF2-40B4-BE49-F238E27FC236}">
                <a16:creationId xmlns:a16="http://schemas.microsoft.com/office/drawing/2014/main" id="{53DEF4CB-F163-A5FD-5ADA-C7F6D07268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8DD7EC8-DD7E-4762-0491-13EEE72047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8962589-2883-EF4C-AFDB-F46E7ED593D2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7978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2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C4487BE9-0A5C-4321-8679-5969B12A5692}" type="datetime1">
              <a:rPr lang="fr-FR" smtClean="0"/>
              <a:t>09/10/202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8820150" y="6705600"/>
            <a:ext cx="323472" cy="152116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8820150" y="6705600"/>
            <a:ext cx="323472" cy="152117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87824" y="639295"/>
            <a:ext cx="5832326" cy="13498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6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/>
            </a:lvl2pPr>
            <a:lvl3pPr mar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6"/>
                </a:solidFill>
                <a:latin typeface="+mn-lt"/>
              </a:defRPr>
            </a:lvl3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09"/>
          <a:stretch/>
        </p:blipFill>
        <p:spPr bwMode="gray">
          <a:xfrm>
            <a:off x="0" y="0"/>
            <a:ext cx="2520000" cy="1592263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2034000"/>
            <a:ext cx="9144000" cy="4823460"/>
          </a:xfrm>
          <a:custGeom>
            <a:avLst/>
            <a:gdLst>
              <a:gd name="connsiteX0" fmla="*/ 630000 w 9144000"/>
              <a:gd name="connsiteY0" fmla="*/ 0 h 4823460"/>
              <a:gd name="connsiteX1" fmla="*/ 899592 w 9144000"/>
              <a:gd name="connsiteY1" fmla="*/ 0 h 4823460"/>
              <a:gd name="connsiteX2" fmla="*/ 1260000 w 9144000"/>
              <a:gd name="connsiteY2" fmla="*/ 0 h 4823460"/>
              <a:gd name="connsiteX3" fmla="*/ 9144000 w 9144000"/>
              <a:gd name="connsiteY3" fmla="*/ 0 h 4823460"/>
              <a:gd name="connsiteX4" fmla="*/ 9144000 w 9144000"/>
              <a:gd name="connsiteY4" fmla="*/ 1070340 h 4823460"/>
              <a:gd name="connsiteX5" fmla="*/ 9144000 w 9144000"/>
              <a:gd name="connsiteY5" fmla="*/ 4823460 h 4823460"/>
              <a:gd name="connsiteX6" fmla="*/ 0 w 9144000"/>
              <a:gd name="connsiteY6" fmla="*/ 4823460 h 4823460"/>
              <a:gd name="connsiteX7" fmla="*/ 0 w 9144000"/>
              <a:gd name="connsiteY7" fmla="*/ 1070340 h 4823460"/>
              <a:gd name="connsiteX8" fmla="*/ 0 w 9144000"/>
              <a:gd name="connsiteY8" fmla="*/ 630000 h 4823460"/>
              <a:gd name="connsiteX9" fmla="*/ 630000 w 9144000"/>
              <a:gd name="connsiteY9" fmla="*/ 0 h 4823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4823460">
                <a:moveTo>
                  <a:pt x="630000" y="0"/>
                </a:moveTo>
                <a:lnTo>
                  <a:pt x="899592" y="0"/>
                </a:lnTo>
                <a:lnTo>
                  <a:pt x="1260000" y="0"/>
                </a:lnTo>
                <a:lnTo>
                  <a:pt x="9144000" y="0"/>
                </a:lnTo>
                <a:lnTo>
                  <a:pt x="9144000" y="1070340"/>
                </a:lnTo>
                <a:lnTo>
                  <a:pt x="9144000" y="4823460"/>
                </a:lnTo>
                <a:lnTo>
                  <a:pt x="0" y="4823460"/>
                </a:lnTo>
                <a:lnTo>
                  <a:pt x="0" y="1070340"/>
                </a:lnTo>
                <a:lnTo>
                  <a:pt x="0" y="630000"/>
                </a:ln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914696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pour une image  13"/>
          <p:cNvSpPr>
            <a:spLocks noGrp="1"/>
          </p:cNvSpPr>
          <p:nvPr>
            <p:ph type="pic" sz="quarter" idx="17"/>
          </p:nvPr>
        </p:nvSpPr>
        <p:spPr bwMode="gray">
          <a:xfrm>
            <a:off x="1912930" y="2034001"/>
            <a:ext cx="7236000" cy="1998000"/>
          </a:xfrm>
          <a:custGeom>
            <a:avLst/>
            <a:gdLst>
              <a:gd name="connsiteX0" fmla="*/ 630000 w 7231070"/>
              <a:gd name="connsiteY0" fmla="*/ 0 h 1998000"/>
              <a:gd name="connsiteX1" fmla="*/ 899593 w 7231070"/>
              <a:gd name="connsiteY1" fmla="*/ 0 h 1998000"/>
              <a:gd name="connsiteX2" fmla="*/ 1260000 w 7231070"/>
              <a:gd name="connsiteY2" fmla="*/ 0 h 1998000"/>
              <a:gd name="connsiteX3" fmla="*/ 7230692 w 7231070"/>
              <a:gd name="connsiteY3" fmla="*/ 0 h 1998000"/>
              <a:gd name="connsiteX4" fmla="*/ 7230692 w 7231070"/>
              <a:gd name="connsiteY4" fmla="*/ 917880 h 1998000"/>
              <a:gd name="connsiteX5" fmla="*/ 7231070 w 7231070"/>
              <a:gd name="connsiteY5" fmla="*/ 917880 h 1998000"/>
              <a:gd name="connsiteX6" fmla="*/ 7231070 w 7231070"/>
              <a:gd name="connsiteY6" fmla="*/ 1998000 h 1998000"/>
              <a:gd name="connsiteX7" fmla="*/ 7230692 w 7231070"/>
              <a:gd name="connsiteY7" fmla="*/ 1998000 h 1998000"/>
              <a:gd name="connsiteX8" fmla="*/ 899593 w 7231070"/>
              <a:gd name="connsiteY8" fmla="*/ 1998000 h 1998000"/>
              <a:gd name="connsiteX9" fmla="*/ 1 w 7231070"/>
              <a:gd name="connsiteY9" fmla="*/ 1998000 h 1998000"/>
              <a:gd name="connsiteX10" fmla="*/ 1 w 7231070"/>
              <a:gd name="connsiteY10" fmla="*/ 1260000 h 1998000"/>
              <a:gd name="connsiteX11" fmla="*/ 0 w 7231070"/>
              <a:gd name="connsiteY11" fmla="*/ 1260000 h 1998000"/>
              <a:gd name="connsiteX12" fmla="*/ 0 w 7231070"/>
              <a:gd name="connsiteY12" fmla="*/ 630000 h 1998000"/>
              <a:gd name="connsiteX13" fmla="*/ 630000 w 7231070"/>
              <a:gd name="connsiteY13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231070" h="1998000">
                <a:moveTo>
                  <a:pt x="630000" y="0"/>
                </a:moveTo>
                <a:lnTo>
                  <a:pt x="899593" y="0"/>
                </a:lnTo>
                <a:lnTo>
                  <a:pt x="1260000" y="0"/>
                </a:lnTo>
                <a:lnTo>
                  <a:pt x="7230692" y="0"/>
                </a:lnTo>
                <a:lnTo>
                  <a:pt x="7230692" y="917880"/>
                </a:lnTo>
                <a:lnTo>
                  <a:pt x="7231070" y="917880"/>
                </a:lnTo>
                <a:lnTo>
                  <a:pt x="7231070" y="1998000"/>
                </a:lnTo>
                <a:lnTo>
                  <a:pt x="7230692" y="1998000"/>
                </a:lnTo>
                <a:lnTo>
                  <a:pt x="899593" y="1998000"/>
                </a:lnTo>
                <a:lnTo>
                  <a:pt x="1" y="1998000"/>
                </a:lnTo>
                <a:lnTo>
                  <a:pt x="1" y="1260000"/>
                </a:lnTo>
                <a:lnTo>
                  <a:pt x="0" y="1260000"/>
                </a:lnTo>
                <a:lnTo>
                  <a:pt x="0" y="630000"/>
                </a:ln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</p:spPr>
        <p:txBody>
          <a:bodyPr wrap="square" tIns="1080000" anchor="ctr" anchorCtr="0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627784" y="4257092"/>
            <a:ext cx="6192366" cy="18357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2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solidFill>
                  <a:schemeClr val="accent2"/>
                </a:solidFill>
              </a:defRPr>
            </a:lvl2pPr>
            <a:lvl3pPr mar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2"/>
                </a:solidFill>
                <a:latin typeface="+mn-lt"/>
              </a:defRPr>
            </a:lvl3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8820150" y="6705600"/>
            <a:ext cx="321821" cy="152400"/>
          </a:xfrm>
        </p:spPr>
        <p:txBody>
          <a:bodyPr/>
          <a:lstStyle/>
          <a:p>
            <a:fld id="{8197A840-86ED-47C9-965B-C7D4536BA6CA}" type="datetime1">
              <a:rPr lang="fr-FR" smtClean="0"/>
              <a:t>09/10/2024</a:t>
            </a:fld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15"/>
          </p:nvPr>
        </p:nvSpPr>
        <p:spPr bwMode="gray">
          <a:xfrm>
            <a:off x="1763713" y="6156000"/>
            <a:ext cx="6624637" cy="232968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13" name="Espace réservé du numéro de diapositive 9"/>
          <p:cNvSpPr>
            <a:spLocks noGrp="1"/>
          </p:cNvSpPr>
          <p:nvPr>
            <p:ph type="sldNum" sz="quarter" idx="16"/>
          </p:nvPr>
        </p:nvSpPr>
        <p:spPr bwMode="gray">
          <a:xfrm>
            <a:off x="7812089" y="6553200"/>
            <a:ext cx="576261" cy="1524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09"/>
          <a:stretch/>
        </p:blipFill>
        <p:spPr bwMode="gray">
          <a:xfrm>
            <a:off x="0" y="0"/>
            <a:ext cx="2520000" cy="1592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965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A461472-4D02-4E3B-8474-CDB85EE37559}" type="datetime1">
              <a:rPr lang="fr-FR" smtClean="0"/>
              <a:t>09/10/2024</a:t>
            </a:fld>
            <a:endParaRPr lang="fr-FR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fr-FR" smtClean="0"/>
              <a:t>‹N°›</a:t>
            </a:fld>
            <a:endParaRPr lang="fr-FR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63713" y="404813"/>
            <a:ext cx="7056437" cy="11525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6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 hasCustomPrompt="1"/>
          </p:nvPr>
        </p:nvSpPr>
        <p:spPr bwMode="gray">
          <a:xfrm>
            <a:off x="1368425" y="1989138"/>
            <a:ext cx="7451725" cy="4103687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</p:spTree>
    <p:extLst>
      <p:ext uri="{BB962C8B-B14F-4D97-AF65-F5344CB8AC3E}">
        <p14:creationId xmlns:p14="http://schemas.microsoft.com/office/powerpoint/2010/main" val="14503922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imag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FE97C64-61DE-4E7F-9C8C-7D44FFD87C3A}" type="datetime1">
              <a:rPr lang="fr-FR" smtClean="0"/>
              <a:t>09/10/2024</a:t>
            </a:fld>
            <a:endParaRPr lang="fr-FR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fr-FR" smtClean="0"/>
              <a:t>‹N°›</a:t>
            </a:fld>
            <a:endParaRPr lang="fr-FR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63713" y="404813"/>
            <a:ext cx="7056437" cy="11525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6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4"/>
          </p:nvPr>
        </p:nvSpPr>
        <p:spPr bwMode="gray">
          <a:xfrm>
            <a:off x="1584325" y="1591200"/>
            <a:ext cx="2339975" cy="1871662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924300" y="1591200"/>
            <a:ext cx="3240088" cy="1872000"/>
          </a:xfrm>
          <a:solidFill>
            <a:schemeClr val="accent2"/>
          </a:solidFill>
        </p:spPr>
        <p:txBody>
          <a:bodyPr lIns="576000" tIns="36000" rIns="72000" bIns="36000" anchor="ctr" anchorCtr="0"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100">
                <a:solidFill>
                  <a:schemeClr val="bg1"/>
                </a:solidFill>
              </a:defRPr>
            </a:lvl2pPr>
            <a:lvl3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50">
                <a:solidFill>
                  <a:schemeClr val="bg1"/>
                </a:solidFill>
                <a:latin typeface="+mn-lt"/>
              </a:defRPr>
            </a:lvl3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XX%</a:t>
            </a:r>
          </a:p>
          <a:p>
            <a:pPr lvl="2"/>
            <a:r>
              <a:rPr lang="fr-FR" noProof="0"/>
              <a:t>Texte de niveau 3</a:t>
            </a:r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6" hasCustomPrompt="1"/>
          </p:nvPr>
        </p:nvSpPr>
        <p:spPr bwMode="gray">
          <a:xfrm>
            <a:off x="1584325" y="3644900"/>
            <a:ext cx="7235825" cy="2447925"/>
          </a:xfrm>
        </p:spPr>
        <p:txBody>
          <a:bodyPr/>
          <a:lstStyle>
            <a:lvl1pPr>
              <a:spcBef>
                <a:spcPts val="1000"/>
              </a:spcBef>
              <a:spcAft>
                <a:spcPts val="0"/>
              </a:spcAft>
              <a:defRPr sz="1200">
                <a:solidFill>
                  <a:schemeClr val="accent6"/>
                </a:solidFill>
              </a:defRPr>
            </a:lvl1pPr>
            <a:lvl2pPr>
              <a:lnSpc>
                <a:spcPct val="100000"/>
              </a:lnSpc>
              <a:defRPr sz="1050"/>
            </a:lvl2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</p:txBody>
      </p:sp>
    </p:spTree>
    <p:extLst>
      <p:ext uri="{BB962C8B-B14F-4D97-AF65-F5344CB8AC3E}">
        <p14:creationId xmlns:p14="http://schemas.microsoft.com/office/powerpoint/2010/main" val="27524456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, encart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DD84D98-8EA5-4077-9CAA-CF8D6085A95A}" type="datetime1">
              <a:rPr lang="fr-FR" smtClean="0"/>
              <a:t>09/10/2024</a:t>
            </a:fld>
            <a:endParaRPr lang="fr-FR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fr-FR" smtClean="0"/>
              <a:t>‹N°›</a:t>
            </a:fld>
            <a:endParaRPr lang="fr-FR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63713" y="404813"/>
            <a:ext cx="7056437" cy="11525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6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7544" y="1592262"/>
            <a:ext cx="2124236" cy="3996978"/>
          </a:xfrm>
          <a:solidFill>
            <a:schemeClr val="accent2"/>
          </a:solidFill>
        </p:spPr>
        <p:txBody>
          <a:bodyPr lIns="216000" tIns="144000" rIns="36000" bIns="36000" anchor="t" anchorCtr="0"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 mar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5100">
                <a:solidFill>
                  <a:schemeClr val="bg1"/>
                </a:solidFill>
              </a:defRPr>
            </a:lvl2pPr>
            <a:lvl3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50">
                <a:solidFill>
                  <a:schemeClr val="bg1"/>
                </a:solidFill>
                <a:latin typeface="+mn-lt"/>
              </a:defRPr>
            </a:lvl3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XX%</a:t>
            </a:r>
          </a:p>
          <a:p>
            <a:pPr lvl="2"/>
            <a:r>
              <a:rPr lang="fr-FR" noProof="0"/>
              <a:t>Texte de niveau 3</a:t>
            </a:r>
          </a:p>
        </p:txBody>
      </p:sp>
      <p:sp>
        <p:nvSpPr>
          <p:cNvPr id="15" name="Espace réservé du contenu 6"/>
          <p:cNvSpPr>
            <a:spLocks noGrp="1"/>
          </p:cNvSpPr>
          <p:nvPr>
            <p:ph sz="quarter" idx="14" hasCustomPrompt="1"/>
          </p:nvPr>
        </p:nvSpPr>
        <p:spPr bwMode="gray">
          <a:xfrm>
            <a:off x="2843808" y="1557338"/>
            <a:ext cx="5976342" cy="4535487"/>
          </a:xfrm>
        </p:spPr>
        <p:txBody>
          <a:bodyPr/>
          <a:lstStyle>
            <a:lvl1pPr>
              <a:spcBef>
                <a:spcPts val="1000"/>
              </a:spcBef>
              <a:spcAft>
                <a:spcPts val="300"/>
              </a:spcAft>
              <a:defRPr/>
            </a:lvl1pPr>
            <a:lvl2pPr marL="576000" indent="-108000">
              <a:spcBef>
                <a:spcPts val="600"/>
              </a:spcBef>
              <a:buClr>
                <a:schemeClr val="accent1"/>
              </a:buClr>
              <a:buSzPct val="11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576000">
              <a:spcBef>
                <a:spcPts val="0"/>
              </a:spcBef>
              <a:spcAft>
                <a:spcPts val="0"/>
              </a:spcAft>
              <a:defRPr sz="1050">
                <a:solidFill>
                  <a:schemeClr val="accent6"/>
                </a:solidFill>
                <a:latin typeface="+mn-lt"/>
              </a:defRPr>
            </a:lvl3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</p:txBody>
      </p:sp>
    </p:spTree>
    <p:extLst>
      <p:ext uri="{BB962C8B-B14F-4D97-AF65-F5344CB8AC3E}">
        <p14:creationId xmlns:p14="http://schemas.microsoft.com/office/powerpoint/2010/main" val="37557419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9695E54-0000-4780-9DB7-3A9BB1262BE7}" type="datetime1">
              <a:rPr lang="fr-FR" smtClean="0"/>
              <a:t>09/10/2024</a:t>
            </a:fld>
            <a:endParaRPr lang="fr-FR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fr-FR" smtClean="0"/>
              <a:t>‹N°›</a:t>
            </a:fld>
            <a:endParaRPr lang="fr-FR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63713" y="404813"/>
            <a:ext cx="7056437" cy="11525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6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3" name="Espace réservé du graphique 2"/>
          <p:cNvSpPr>
            <a:spLocks noGrp="1"/>
          </p:cNvSpPr>
          <p:nvPr>
            <p:ph type="chart" sz="quarter" idx="14"/>
          </p:nvPr>
        </p:nvSpPr>
        <p:spPr bwMode="gray">
          <a:xfrm>
            <a:off x="1150939" y="2024063"/>
            <a:ext cx="7669212" cy="4068762"/>
          </a:xfrm>
        </p:spPr>
        <p:txBody>
          <a:bodyPr tIns="720000" bIns="0" anchor="ctr" anchorCtr="0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18088841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D5FD9DE-4B38-4885-927B-78757AF221B9}" type="datetime1">
              <a:rPr lang="fr-FR" smtClean="0"/>
              <a:t>09/10/2024</a:t>
            </a:fld>
            <a:endParaRPr lang="fr-FR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fr-FR" smtClean="0"/>
              <a:t>‹N°›</a:t>
            </a:fld>
            <a:endParaRPr lang="fr-FR"/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763713" y="404813"/>
            <a:ext cx="7056437" cy="11525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6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3" name="Espace réservé du tableau 2"/>
          <p:cNvSpPr>
            <a:spLocks noGrp="1"/>
          </p:cNvSpPr>
          <p:nvPr>
            <p:ph type="tbl" sz="quarter" idx="14"/>
          </p:nvPr>
        </p:nvSpPr>
        <p:spPr bwMode="gray">
          <a:xfrm>
            <a:off x="1763713" y="1989138"/>
            <a:ext cx="5437187" cy="324008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763713" y="5356260"/>
            <a:ext cx="252412" cy="73025"/>
          </a:xfrm>
          <a:solidFill>
            <a:schemeClr val="accent1"/>
          </a:solid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042755" y="5337212"/>
            <a:ext cx="720000" cy="360000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ITRE légende 1</a:t>
            </a:r>
          </a:p>
        </p:txBody>
      </p:sp>
      <p:sp>
        <p:nvSpPr>
          <p:cNvPr id="14" name="Espace réservé du texte 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879829" y="5356260"/>
            <a:ext cx="252412" cy="73025"/>
          </a:xfrm>
          <a:solidFill>
            <a:schemeClr val="accent2"/>
          </a:solid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5" name="Espace réservé du texte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158871" y="5337212"/>
            <a:ext cx="720000" cy="360000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ITRE légende 2</a:t>
            </a:r>
          </a:p>
        </p:txBody>
      </p:sp>
      <p:sp>
        <p:nvSpPr>
          <p:cNvPr id="16" name="Espace réservé du texte 5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95945" y="5356260"/>
            <a:ext cx="252412" cy="73025"/>
          </a:xfrm>
          <a:solidFill>
            <a:schemeClr val="accent3"/>
          </a:solid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7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274987" y="5337212"/>
            <a:ext cx="720000" cy="360000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ITRE légende 3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112060" y="5356260"/>
            <a:ext cx="252412" cy="73025"/>
          </a:xfrm>
          <a:solidFill>
            <a:schemeClr val="accent4"/>
          </a:solid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19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391102" y="5337212"/>
            <a:ext cx="720000" cy="360000"/>
          </a:xfrm>
        </p:spPr>
        <p:txBody>
          <a:bodyPr/>
          <a:lstStyle>
            <a:lvl1pPr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/>
              <a:t>TITRE légende 4</a:t>
            </a:r>
          </a:p>
        </p:txBody>
      </p:sp>
    </p:spTree>
    <p:extLst>
      <p:ext uri="{BB962C8B-B14F-4D97-AF65-F5344CB8AC3E}">
        <p14:creationId xmlns:p14="http://schemas.microsoft.com/office/powerpoint/2010/main" val="18088841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416CF4-2061-4C41-BD2C-1C959997B8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4711592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416CF4-2061-4C41-BD2C-1C959997B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35E614D-6491-4558-9CBA-A3E37584942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59570" y="2025570"/>
            <a:ext cx="8424861" cy="41009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4C589249-3A37-6140-94D1-1CE5D515B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676" y="833378"/>
            <a:ext cx="8418113" cy="983848"/>
          </a:xfrm>
          <a:prstGeom prst="rect">
            <a:avLst/>
          </a:prstGeom>
        </p:spPr>
        <p:txBody>
          <a:bodyPr vert="horz" lIns="0" tIns="0" rIns="90000" bIns="90000" rtlCol="0" anchor="b" anchorCtr="0">
            <a:norm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7B66273-031F-E746-957D-43035ACABD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5859" y="6242439"/>
            <a:ext cx="383721" cy="27692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750" b="0" i="0">
                <a:solidFill>
                  <a:schemeClr val="accent1"/>
                </a:solidFill>
                <a:latin typeface="Selawik" panose="020B0502040204020203" pitchFamily="34" charset="77"/>
              </a:defRPr>
            </a:lvl1pPr>
          </a:lstStyle>
          <a:p>
            <a:pPr algn="l"/>
            <a:fld id="{5727D703-01AD-4B48-9E69-5E906C8C77D4}" type="slidenum">
              <a:rPr lang="en-US" smtClean="0"/>
              <a:pPr algn="l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9140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3"/>
          </p:nvPr>
        </p:nvSpPr>
        <p:spPr>
          <a:xfrm>
            <a:off x="2776040" y="2"/>
            <a:ext cx="6350138" cy="5924549"/>
          </a:xfrm>
          <a:custGeom>
            <a:avLst/>
            <a:gdLst>
              <a:gd name="connsiteX0" fmla="*/ 486575 w 8466851"/>
              <a:gd name="connsiteY0" fmla="*/ 0 h 6089535"/>
              <a:gd name="connsiteX1" fmla="*/ 8466851 w 8466851"/>
              <a:gd name="connsiteY1" fmla="*/ 0 h 6089535"/>
              <a:gd name="connsiteX2" fmla="*/ 8466851 w 8466851"/>
              <a:gd name="connsiteY2" fmla="*/ 6084784 h 6089535"/>
              <a:gd name="connsiteX3" fmla="*/ 1729749 w 8466851"/>
              <a:gd name="connsiteY3" fmla="*/ 3315080 h 6089535"/>
              <a:gd name="connsiteX4" fmla="*/ 486575 w 8466851"/>
              <a:gd name="connsiteY4" fmla="*/ 0 h 6089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66851" h="6089535">
                <a:moveTo>
                  <a:pt x="486575" y="0"/>
                </a:moveTo>
                <a:lnTo>
                  <a:pt x="8466851" y="0"/>
                </a:lnTo>
                <a:lnTo>
                  <a:pt x="8466851" y="6084784"/>
                </a:lnTo>
                <a:cubicBezTo>
                  <a:pt x="2204964" y="6205353"/>
                  <a:pt x="4668306" y="3997365"/>
                  <a:pt x="1729749" y="3315080"/>
                </a:cubicBezTo>
                <a:cubicBezTo>
                  <a:pt x="-1208808" y="2632796"/>
                  <a:pt x="486575" y="0"/>
                  <a:pt x="486575" y="0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bg1"/>
            </a:bgClr>
          </a:pattFill>
          <a:effectLst>
            <a:outerShdw blurRad="50800" dist="50800" dir="8100000" algn="ctr" rotWithShape="0">
              <a:srgbClr val="000000">
                <a:alpha val="5000"/>
              </a:srgbClr>
            </a:outerShdw>
          </a:effectLst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359569" y="3587751"/>
            <a:ext cx="5837003" cy="1620837"/>
          </a:xfrm>
        </p:spPr>
        <p:txBody>
          <a:bodyPr lIns="72000" rIns="72000" anchor="b">
            <a:noAutofit/>
          </a:bodyPr>
          <a:lstStyle>
            <a:lvl1pPr algn="l">
              <a:defRPr sz="2400">
                <a:solidFill>
                  <a:schemeClr val="accent2"/>
                </a:solidFill>
                <a:latin typeface="AntagometricaBTW01-Bold" panose="020B0806020202040206" pitchFamily="34" charset="0"/>
              </a:defRPr>
            </a:lvl1pPr>
          </a:lstStyle>
          <a:p>
            <a:r>
              <a:rPr lang="fr-FR"/>
              <a:t>Modifiez le style du titre</a:t>
            </a:r>
            <a:br>
              <a:rPr lang="fr-FR"/>
            </a:br>
            <a:r>
              <a:rPr lang="fr-FR"/>
              <a:t>sur 2 lignes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359569" y="5274047"/>
            <a:ext cx="5837002" cy="963242"/>
          </a:xfrm>
        </p:spPr>
        <p:txBody>
          <a:bodyPr lIns="72000" rIns="72000">
            <a:noAutofit/>
          </a:bodyPr>
          <a:lstStyle>
            <a:lvl1pPr marL="0" indent="0" algn="l">
              <a:buNone/>
              <a:defRPr sz="1500">
                <a:solidFill>
                  <a:schemeClr val="accent2"/>
                </a:solidFill>
                <a:latin typeface="Avenir LT Std 55 Roman" panose="020B0503020203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13" name="Rectangle : coins arrondis 12"/>
          <p:cNvSpPr/>
          <p:nvPr userDrawn="1"/>
        </p:nvSpPr>
        <p:spPr>
          <a:xfrm>
            <a:off x="996907" y="1564150"/>
            <a:ext cx="336626" cy="45719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350"/>
          </a:p>
        </p:txBody>
      </p:sp>
      <p:sp>
        <p:nvSpPr>
          <p:cNvPr id="14" name="Espace réservé du texte 14"/>
          <p:cNvSpPr>
            <a:spLocks noGrp="1"/>
          </p:cNvSpPr>
          <p:nvPr>
            <p:ph type="body" sz="quarter" idx="15" hasCustomPrompt="1"/>
          </p:nvPr>
        </p:nvSpPr>
        <p:spPr>
          <a:xfrm>
            <a:off x="128484" y="1"/>
            <a:ext cx="1624571" cy="1814513"/>
          </a:xfrm>
        </p:spPr>
        <p:txBody>
          <a:bodyPr anchor="ctr" anchorCtr="0"/>
          <a:lstStyle>
            <a:lvl1pPr marL="0" indent="0" algn="ctr">
              <a:buNone/>
              <a:defRPr sz="7200">
                <a:solidFill>
                  <a:schemeClr val="accent2"/>
                </a:solidFill>
                <a:latin typeface="AntagometricaBTW01-Bold" panose="020B0806020202040206" pitchFamily="34" charset="0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4161491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sans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2"/>
          <p:cNvSpPr>
            <a:spLocks noGrp="1"/>
          </p:cNvSpPr>
          <p:nvPr>
            <p:ph type="body" sz="quarter" idx="15" hasCustomPrompt="1"/>
          </p:nvPr>
        </p:nvSpPr>
        <p:spPr>
          <a:xfrm>
            <a:off x="269106" y="261387"/>
            <a:ext cx="8156132" cy="457048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1800" b="1" cap="none" baseline="0">
                <a:solidFill>
                  <a:schemeClr val="tx1">
                    <a:lumMod val="90000"/>
                    <a:lumOff val="10000"/>
                  </a:schemeClr>
                </a:solidFill>
                <a:latin typeface="LVMH" panose="02000000000000000000" pitchFamily="50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fr-FR"/>
              <a:t>SLIDE SUBTIT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39564B6-0BF1-404C-BE1B-B0B6ACD71C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25238" y="202903"/>
            <a:ext cx="656498" cy="57401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8A5500C-B0E1-4050-94AF-54E0F1723D1F}"/>
              </a:ext>
            </a:extLst>
          </p:cNvPr>
          <p:cNvSpPr txBox="1"/>
          <p:nvPr userDrawn="1"/>
        </p:nvSpPr>
        <p:spPr>
          <a:xfrm>
            <a:off x="8753027" y="6474193"/>
            <a:ext cx="3380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88D05CB5-A8B1-4E8F-8CC3-FD82AD0C0540}" type="slidenum">
              <a:rPr lang="en-US" sz="900" i="0" smtClean="0">
                <a:solidFill>
                  <a:schemeClr val="tx1"/>
                </a:solidFill>
                <a:latin typeface="Calibri" panose="020F0502020204030204" pitchFamily="34" charset="0"/>
                <a:ea typeface="LVMH" charset="0"/>
                <a:cs typeface="Calibri" panose="020F0502020204030204" pitchFamily="34" charset="0"/>
              </a:rPr>
              <a:t>‹N°›</a:t>
            </a:fld>
            <a:endParaRPr lang="en-US" sz="900" i="0">
              <a:solidFill>
                <a:schemeClr val="tx1"/>
              </a:solidFill>
              <a:latin typeface="Calibri" panose="020F0502020204030204" pitchFamily="34" charset="0"/>
              <a:ea typeface="LVMH" charset="0"/>
              <a:cs typeface="Calibri" panose="020F0502020204030204" pitchFamily="34" charset="0"/>
            </a:endParaRP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8C4FFE4D-DFF8-44CD-BE88-FD6B63650182}"/>
              </a:ext>
            </a:extLst>
          </p:cNvPr>
          <p:cNvCxnSpPr>
            <a:cxnSpLocks/>
          </p:cNvCxnSpPr>
          <p:nvPr userDrawn="1"/>
        </p:nvCxnSpPr>
        <p:spPr>
          <a:xfrm>
            <a:off x="269081" y="6474192"/>
            <a:ext cx="8575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12">
            <a:extLst>
              <a:ext uri="{FF2B5EF4-FFF2-40B4-BE49-F238E27FC236}">
                <a16:creationId xmlns:a16="http://schemas.microsoft.com/office/drawing/2014/main" id="{D08127D3-4AE1-4A31-961B-3985398823E8}"/>
              </a:ext>
            </a:extLst>
          </p:cNvPr>
          <p:cNvSpPr txBox="1">
            <a:spLocks/>
          </p:cNvSpPr>
          <p:nvPr userDrawn="1"/>
        </p:nvSpPr>
        <p:spPr>
          <a:xfrm>
            <a:off x="269081" y="6531977"/>
            <a:ext cx="2922591" cy="275591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l" defTabSz="914377" rtl="0" eaLnBrk="1" latinLnBrk="0" hangingPunct="1">
              <a:lnSpc>
                <a:spcPct val="85000"/>
              </a:lnSpc>
              <a:spcBef>
                <a:spcPts val="1800"/>
              </a:spcBef>
              <a:buFontTx/>
              <a:buNone/>
              <a:defRPr sz="950" b="1" i="0" kern="1200" cap="all" spc="0" baseline="0">
                <a:solidFill>
                  <a:srgbClr val="FFFFFF"/>
                </a:solidFill>
                <a:latin typeface="LVMH" charset="0"/>
                <a:ea typeface="LVMH" charset="0"/>
                <a:cs typeface="LVMH" charset="0"/>
              </a:defRPr>
            </a:lvl1pPr>
            <a:lvl2pPr marL="176400" indent="79200" algn="l" defTabSz="914377" rtl="0" eaLnBrk="1" latinLnBrk="0" hangingPunct="1">
              <a:lnSpc>
                <a:spcPct val="100000"/>
              </a:lnSpc>
              <a:spcBef>
                <a:spcPts val="0"/>
              </a:spcBef>
              <a:buSzPct val="90000"/>
              <a:buFont typeface="LVMH" charset="0"/>
              <a:buChar char="⎸"/>
              <a:defRPr sz="1300" b="1" i="0" kern="1200" spc="0" baseline="0">
                <a:solidFill>
                  <a:schemeClr val="bg1"/>
                </a:solidFill>
                <a:latin typeface="LVMH" charset="0"/>
                <a:ea typeface="LVMH" charset="0"/>
                <a:cs typeface="LVMH" charset="0"/>
              </a:defRPr>
            </a:lvl2pPr>
            <a:lvl3pPr marL="378000" indent="0" algn="l" defTabSz="914377" rtl="0" eaLnBrk="1" latinLnBrk="0" hangingPunct="1">
              <a:lnSpc>
                <a:spcPct val="80000"/>
              </a:lnSpc>
              <a:spcBef>
                <a:spcPts val="400"/>
              </a:spcBef>
              <a:buFont typeface="LVMH" panose="02000000000000000000" pitchFamily="2" charset="0"/>
              <a:buChar char=" "/>
              <a:defRPr sz="1300" b="0" i="0" kern="1200" spc="-31" baseline="0">
                <a:solidFill>
                  <a:schemeClr val="bg1"/>
                </a:solidFill>
                <a:latin typeface="LVMH" charset="0"/>
                <a:ea typeface="LVMH" charset="0"/>
                <a:cs typeface="LVMH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300" b="0" i="0" kern="1200">
                <a:solidFill>
                  <a:srgbClr val="11263D"/>
                </a:solidFill>
                <a:latin typeface="LVMH" charset="0"/>
                <a:ea typeface="LVMH" charset="0"/>
                <a:cs typeface="LVMH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300" b="0" i="0" kern="1200">
                <a:solidFill>
                  <a:srgbClr val="11263D"/>
                </a:solidFill>
                <a:latin typeface="LVMH" charset="0"/>
                <a:ea typeface="LVMH" charset="0"/>
                <a:cs typeface="LVMH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venir Next Text Regular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venir Next Text Regular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venir Next Text Regular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venir Next Text Regular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713" b="0" i="0" kern="1200" cap="all" spc="30" baseline="0">
                <a:solidFill>
                  <a:srgbClr val="002356"/>
                </a:solidFill>
                <a:latin typeface="LVMH" charset="0"/>
                <a:cs typeface="LVMH" charset="0"/>
              </a:rPr>
              <a:t>Apollo – phase d’étude</a:t>
            </a:r>
          </a:p>
        </p:txBody>
      </p:sp>
    </p:spTree>
    <p:extLst>
      <p:ext uri="{BB962C8B-B14F-4D97-AF65-F5344CB8AC3E}">
        <p14:creationId xmlns:p14="http://schemas.microsoft.com/office/powerpoint/2010/main" val="216594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096816-C8D8-4D33-ADC6-A0DDE3C6E31E}"/>
              </a:ext>
            </a:extLst>
          </p:cNvPr>
          <p:cNvSpPr>
            <a:spLocks noGrp="1"/>
          </p:cNvSpPr>
          <p:nvPr>
            <p:ph type="title"/>
          </p:nvPr>
        </p:nvSpPr>
        <p:spPr bwMode="invGray">
          <a:xfrm>
            <a:off x="237599" y="471916"/>
            <a:ext cx="8613000" cy="253916"/>
          </a:xfrm>
          <a:prstGeom prst="rect">
            <a:avLst/>
          </a:prstGeom>
        </p:spPr>
        <p:txBody>
          <a:bodyPr wrap="square" tIns="0" bIns="0" anchor="t">
            <a:spAutoFit/>
          </a:bodyPr>
          <a:lstStyle>
            <a:lvl1pPr>
              <a:lnSpc>
                <a:spcPct val="100000"/>
              </a:lnSpc>
              <a:defRPr sz="1650">
                <a:solidFill>
                  <a:srgbClr val="000000"/>
                </a:solidFill>
                <a:latin typeface="Montserrat Bold" panose="00000800000000000000" pitchFamily="2" charset="0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2E3C4D-A53B-49B6-90E2-150065B8751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invGray">
          <a:xfrm>
            <a:off x="237599" y="830931"/>
            <a:ext cx="8613000" cy="1846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200">
                <a:solidFill>
                  <a:srgbClr val="000000"/>
                </a:solidFill>
                <a:latin typeface="Montserrat SemiBold" pitchFamily="2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BAE1A89-9C65-45A4-8923-6131F16037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7599" y="1316039"/>
            <a:ext cx="8613000" cy="46370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defRPr lang="nl-NL" dirty="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533514F6-E42B-0039-77E4-9F9D5B58B8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56619" y="6386086"/>
            <a:ext cx="397270" cy="402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038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2034000"/>
            <a:ext cx="9144000" cy="4823460"/>
          </a:xfrm>
          <a:custGeom>
            <a:avLst/>
            <a:gdLst>
              <a:gd name="connsiteX0" fmla="*/ 630000 w 9144000"/>
              <a:gd name="connsiteY0" fmla="*/ 0 h 4823460"/>
              <a:gd name="connsiteX1" fmla="*/ 899592 w 9144000"/>
              <a:gd name="connsiteY1" fmla="*/ 0 h 4823460"/>
              <a:gd name="connsiteX2" fmla="*/ 1260000 w 9144000"/>
              <a:gd name="connsiteY2" fmla="*/ 0 h 4823460"/>
              <a:gd name="connsiteX3" fmla="*/ 9144000 w 9144000"/>
              <a:gd name="connsiteY3" fmla="*/ 0 h 4823460"/>
              <a:gd name="connsiteX4" fmla="*/ 9144000 w 9144000"/>
              <a:gd name="connsiteY4" fmla="*/ 1070340 h 4823460"/>
              <a:gd name="connsiteX5" fmla="*/ 9144000 w 9144000"/>
              <a:gd name="connsiteY5" fmla="*/ 4823460 h 4823460"/>
              <a:gd name="connsiteX6" fmla="*/ 0 w 9144000"/>
              <a:gd name="connsiteY6" fmla="*/ 4823460 h 4823460"/>
              <a:gd name="connsiteX7" fmla="*/ 0 w 9144000"/>
              <a:gd name="connsiteY7" fmla="*/ 1070340 h 4823460"/>
              <a:gd name="connsiteX8" fmla="*/ 0 w 9144000"/>
              <a:gd name="connsiteY8" fmla="*/ 630000 h 4823460"/>
              <a:gd name="connsiteX9" fmla="*/ 630000 w 9144000"/>
              <a:gd name="connsiteY9" fmla="*/ 0 h 4823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44000" h="4823460">
                <a:moveTo>
                  <a:pt x="630000" y="0"/>
                </a:moveTo>
                <a:lnTo>
                  <a:pt x="899592" y="0"/>
                </a:lnTo>
                <a:lnTo>
                  <a:pt x="1260000" y="0"/>
                </a:lnTo>
                <a:lnTo>
                  <a:pt x="9144000" y="0"/>
                </a:lnTo>
                <a:lnTo>
                  <a:pt x="9144000" y="1070340"/>
                </a:lnTo>
                <a:lnTo>
                  <a:pt x="9144000" y="4823460"/>
                </a:lnTo>
                <a:lnTo>
                  <a:pt x="0" y="4823460"/>
                </a:lnTo>
                <a:lnTo>
                  <a:pt x="0" y="1070340"/>
                </a:lnTo>
                <a:lnTo>
                  <a:pt x="0" y="630000"/>
                </a:ln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</p:spPr>
      </p:pic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C4487BE9-0A5C-4321-8679-5969B12A5692}" type="datetime1">
              <a:rPr lang="fr-FR" smtClean="0"/>
              <a:t>09/10/202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8820150" y="6705600"/>
            <a:ext cx="323472" cy="152116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8820150" y="6705600"/>
            <a:ext cx="323472" cy="152117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87824" y="639295"/>
            <a:ext cx="5832326" cy="13498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6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/>
            </a:lvl2pPr>
            <a:lvl3pPr mar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6"/>
                </a:solidFill>
                <a:latin typeface="+mn-lt"/>
              </a:defRPr>
            </a:lvl3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09"/>
          <a:stretch/>
        </p:blipFill>
        <p:spPr bwMode="gray">
          <a:xfrm>
            <a:off x="0" y="0"/>
            <a:ext cx="2520000" cy="1592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7373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4"/>
          </p:nvPr>
        </p:nvSpPr>
        <p:spPr>
          <a:xfrm>
            <a:off x="250827" y="6524625"/>
            <a:ext cx="1152823" cy="333376"/>
          </a:xfrm>
        </p:spPr>
        <p:txBody>
          <a:bodyPr/>
          <a:lstStyle/>
          <a:p>
            <a:pPr algn="l"/>
            <a:r>
              <a:rPr lang="fr-FR"/>
              <a:t>19/09/2016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3"/>
          </p:nvPr>
        </p:nvSpPr>
        <p:spPr bwMode="gray">
          <a:xfrm>
            <a:off x="8243890" y="6524628"/>
            <a:ext cx="649286" cy="333375"/>
          </a:xfrm>
        </p:spPr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439653" y="6524625"/>
            <a:ext cx="6804236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525">
                <a:solidFill>
                  <a:schemeClr val="bg2"/>
                </a:solidFill>
              </a:defRPr>
            </a:lvl1pPr>
          </a:lstStyle>
          <a:p>
            <a:pPr algn="l"/>
            <a:r>
              <a:rPr lang="fr-FR"/>
              <a:t>ENGIE INEO | Processus cible relatif au Commissioning – Planification des tests &amp; essais et suivi d’avancement - 17 juillet 2018</a:t>
            </a:r>
          </a:p>
        </p:txBody>
      </p:sp>
    </p:spTree>
    <p:extLst>
      <p:ext uri="{BB962C8B-B14F-4D97-AF65-F5344CB8AC3E}">
        <p14:creationId xmlns:p14="http://schemas.microsoft.com/office/powerpoint/2010/main" val="24854203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03609" y="1447201"/>
            <a:ext cx="8534401" cy="5022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32427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/>
          <p:cNvSpPr>
            <a:spLocks noGrp="1"/>
          </p:cNvSpPr>
          <p:nvPr>
            <p:ph type="pic" sz="quarter" idx="14"/>
          </p:nvPr>
        </p:nvSpPr>
        <p:spPr bwMode="gray">
          <a:xfrm>
            <a:off x="0" y="2034000"/>
            <a:ext cx="9144000" cy="4824000"/>
          </a:xfrm>
          <a:custGeom>
            <a:avLst/>
            <a:gdLst>
              <a:gd name="connsiteX0" fmla="*/ 630000 w 9144000"/>
              <a:gd name="connsiteY0" fmla="*/ 0 h 4824000"/>
              <a:gd name="connsiteX1" fmla="*/ 899592 w 9144000"/>
              <a:gd name="connsiteY1" fmla="*/ 0 h 4824000"/>
              <a:gd name="connsiteX2" fmla="*/ 1260000 w 9144000"/>
              <a:gd name="connsiteY2" fmla="*/ 0 h 4824000"/>
              <a:gd name="connsiteX3" fmla="*/ 9144000 w 9144000"/>
              <a:gd name="connsiteY3" fmla="*/ 0 h 4824000"/>
              <a:gd name="connsiteX4" fmla="*/ 9144000 w 9144000"/>
              <a:gd name="connsiteY4" fmla="*/ 1070340 h 4824000"/>
              <a:gd name="connsiteX5" fmla="*/ 9144000 w 9144000"/>
              <a:gd name="connsiteY5" fmla="*/ 4823460 h 4824000"/>
              <a:gd name="connsiteX6" fmla="*/ 9144000 w 9144000"/>
              <a:gd name="connsiteY6" fmla="*/ 4824000 h 4824000"/>
              <a:gd name="connsiteX7" fmla="*/ 0 w 9144000"/>
              <a:gd name="connsiteY7" fmla="*/ 4824000 h 4824000"/>
              <a:gd name="connsiteX8" fmla="*/ 0 w 9144000"/>
              <a:gd name="connsiteY8" fmla="*/ 1070340 h 4824000"/>
              <a:gd name="connsiteX9" fmla="*/ 0 w 9144000"/>
              <a:gd name="connsiteY9" fmla="*/ 630000 h 4824000"/>
              <a:gd name="connsiteX10" fmla="*/ 630000 w 9144000"/>
              <a:gd name="connsiteY10" fmla="*/ 0 h 48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44000" h="4824000">
                <a:moveTo>
                  <a:pt x="630000" y="0"/>
                </a:moveTo>
                <a:lnTo>
                  <a:pt x="899592" y="0"/>
                </a:lnTo>
                <a:lnTo>
                  <a:pt x="1260000" y="0"/>
                </a:lnTo>
                <a:lnTo>
                  <a:pt x="9144000" y="0"/>
                </a:lnTo>
                <a:lnTo>
                  <a:pt x="9144000" y="1070340"/>
                </a:lnTo>
                <a:lnTo>
                  <a:pt x="9144000" y="4823460"/>
                </a:lnTo>
                <a:lnTo>
                  <a:pt x="9144000" y="4824000"/>
                </a:lnTo>
                <a:lnTo>
                  <a:pt x="0" y="4824000"/>
                </a:lnTo>
                <a:lnTo>
                  <a:pt x="0" y="1070340"/>
                </a:lnTo>
                <a:lnTo>
                  <a:pt x="0" y="630000"/>
                </a:ln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</p:spPr>
        <p:txBody>
          <a:bodyPr wrap="square" tIns="1080000" anchor="ctr" anchorCtr="0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444F2446-1492-453D-ACD4-11C2FF736A02}" type="datetime1">
              <a:rPr lang="fr-FR" smtClean="0"/>
              <a:t>09/10/202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8820150" y="6705600"/>
            <a:ext cx="323472" cy="152116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8820150" y="6705600"/>
            <a:ext cx="323472" cy="152117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87824" y="639295"/>
            <a:ext cx="5832326" cy="134984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6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/>
            </a:lvl2pPr>
            <a:lvl3pPr mar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accent6"/>
                </a:solidFill>
                <a:latin typeface="+mn-lt"/>
              </a:defRPr>
            </a:lvl3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09"/>
          <a:stretch/>
        </p:blipFill>
        <p:spPr bwMode="gray">
          <a:xfrm>
            <a:off x="0" y="0"/>
            <a:ext cx="2520000" cy="1592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153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uverture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584000" y="0"/>
            <a:ext cx="7560000" cy="2034388"/>
          </a:xfrm>
          <a:prstGeom prst="rect">
            <a:avLst/>
          </a:prstGeom>
        </p:spPr>
      </p:pic>
      <p:sp>
        <p:nvSpPr>
          <p:cNvPr id="10" name="Forme libre 9"/>
          <p:cNvSpPr/>
          <p:nvPr userDrawn="1"/>
        </p:nvSpPr>
        <p:spPr bwMode="gray">
          <a:xfrm rot="16200000">
            <a:off x="2160000" y="-126000"/>
            <a:ext cx="4824000" cy="9144000"/>
          </a:xfrm>
          <a:custGeom>
            <a:avLst/>
            <a:gdLst>
              <a:gd name="connsiteX0" fmla="*/ 4824000 w 4824000"/>
              <a:gd name="connsiteY0" fmla="*/ 630000 h 9144000"/>
              <a:gd name="connsiteX1" fmla="*/ 4824000 w 4824000"/>
              <a:gd name="connsiteY1" fmla="*/ 899592 h 9144000"/>
              <a:gd name="connsiteX2" fmla="*/ 4824000 w 4824000"/>
              <a:gd name="connsiteY2" fmla="*/ 1260000 h 9144000"/>
              <a:gd name="connsiteX3" fmla="*/ 4824000 w 4824000"/>
              <a:gd name="connsiteY3" fmla="*/ 9144000 h 9144000"/>
              <a:gd name="connsiteX4" fmla="*/ 3753660 w 4824000"/>
              <a:gd name="connsiteY4" fmla="*/ 9144000 h 9144000"/>
              <a:gd name="connsiteX5" fmla="*/ 540 w 4824000"/>
              <a:gd name="connsiteY5" fmla="*/ 9144000 h 9144000"/>
              <a:gd name="connsiteX6" fmla="*/ 0 w 4824000"/>
              <a:gd name="connsiteY6" fmla="*/ 9144000 h 9144000"/>
              <a:gd name="connsiteX7" fmla="*/ 0 w 4824000"/>
              <a:gd name="connsiteY7" fmla="*/ 0 h 9144000"/>
              <a:gd name="connsiteX8" fmla="*/ 3753660 w 4824000"/>
              <a:gd name="connsiteY8" fmla="*/ 0 h 9144000"/>
              <a:gd name="connsiteX9" fmla="*/ 3753660 w 4824000"/>
              <a:gd name="connsiteY9" fmla="*/ 0 h 9144000"/>
              <a:gd name="connsiteX10" fmla="*/ 4194000 w 4824000"/>
              <a:gd name="connsiteY10" fmla="*/ 0 h 9144000"/>
              <a:gd name="connsiteX11" fmla="*/ 4824000 w 4824000"/>
              <a:gd name="connsiteY11" fmla="*/ 630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824000" h="9144000">
                <a:moveTo>
                  <a:pt x="4824000" y="630000"/>
                </a:moveTo>
                <a:lnTo>
                  <a:pt x="4824000" y="899592"/>
                </a:lnTo>
                <a:lnTo>
                  <a:pt x="4824000" y="1260000"/>
                </a:lnTo>
                <a:lnTo>
                  <a:pt x="4824000" y="9144000"/>
                </a:lnTo>
                <a:lnTo>
                  <a:pt x="3753660" y="9144000"/>
                </a:lnTo>
                <a:lnTo>
                  <a:pt x="540" y="9144000"/>
                </a:lnTo>
                <a:lnTo>
                  <a:pt x="0" y="9144000"/>
                </a:lnTo>
                <a:lnTo>
                  <a:pt x="0" y="0"/>
                </a:lnTo>
                <a:lnTo>
                  <a:pt x="3753660" y="0"/>
                </a:lnTo>
                <a:lnTo>
                  <a:pt x="3753660" y="0"/>
                </a:lnTo>
                <a:lnTo>
                  <a:pt x="4194000" y="0"/>
                </a:lnTo>
                <a:cubicBezTo>
                  <a:pt x="4541939" y="0"/>
                  <a:pt x="4824000" y="282061"/>
                  <a:pt x="4824000" y="630000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09"/>
          <a:stretch/>
        </p:blipFill>
        <p:spPr bwMode="gray">
          <a:xfrm>
            <a:off x="0" y="0"/>
            <a:ext cx="2520000" cy="159226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820150" y="6705600"/>
            <a:ext cx="323850" cy="15186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1584000" y="3078000"/>
            <a:ext cx="7236000" cy="30168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buNone/>
              <a:defRPr sz="21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6188FDA3-6E14-470C-BB2D-FB472431503E}" type="datetimeFigureOut">
              <a:rPr lang="fr-FR" smtClean="0"/>
              <a:pPr/>
              <a:t>09/10/202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8820150" y="6705600"/>
            <a:ext cx="323850" cy="15186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8820150" y="6705600"/>
            <a:ext cx="323850" cy="15240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798049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_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rme libre 13"/>
          <p:cNvSpPr/>
          <p:nvPr userDrawn="1"/>
        </p:nvSpPr>
        <p:spPr bwMode="gray">
          <a:xfrm>
            <a:off x="1331913" y="2034000"/>
            <a:ext cx="7811709" cy="4824000"/>
          </a:xfrm>
          <a:custGeom>
            <a:avLst/>
            <a:gdLst>
              <a:gd name="connsiteX0" fmla="*/ 899592 w 7811709"/>
              <a:gd name="connsiteY0" fmla="*/ 0 h 4824000"/>
              <a:gd name="connsiteX1" fmla="*/ 7811709 w 7811709"/>
              <a:gd name="connsiteY1" fmla="*/ 0 h 4824000"/>
              <a:gd name="connsiteX2" fmla="*/ 7811709 w 7811709"/>
              <a:gd name="connsiteY2" fmla="*/ 1070340 h 4824000"/>
              <a:gd name="connsiteX3" fmla="*/ 7811709 w 7811709"/>
              <a:gd name="connsiteY3" fmla="*/ 4824000 h 4824000"/>
              <a:gd name="connsiteX4" fmla="*/ 899592 w 7811709"/>
              <a:gd name="connsiteY4" fmla="*/ 4824000 h 4824000"/>
              <a:gd name="connsiteX5" fmla="*/ 0 w 7811709"/>
              <a:gd name="connsiteY5" fmla="*/ 4824000 h 4824000"/>
              <a:gd name="connsiteX6" fmla="*/ 0 w 7811709"/>
              <a:gd name="connsiteY6" fmla="*/ 1260000 h 4824000"/>
              <a:gd name="connsiteX7" fmla="*/ 0 w 7811709"/>
              <a:gd name="connsiteY7" fmla="*/ 1070340 h 4824000"/>
              <a:gd name="connsiteX8" fmla="*/ 0 w 7811709"/>
              <a:gd name="connsiteY8" fmla="*/ 630000 h 4824000"/>
              <a:gd name="connsiteX9" fmla="*/ 630000 w 7811709"/>
              <a:gd name="connsiteY9" fmla="*/ 0 h 4824000"/>
              <a:gd name="connsiteX10" fmla="*/ 899592 w 7811709"/>
              <a:gd name="connsiteY10" fmla="*/ 0 h 48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811709" h="4824000">
                <a:moveTo>
                  <a:pt x="899592" y="0"/>
                </a:moveTo>
                <a:lnTo>
                  <a:pt x="7811709" y="0"/>
                </a:lnTo>
                <a:lnTo>
                  <a:pt x="7811709" y="1070340"/>
                </a:lnTo>
                <a:lnTo>
                  <a:pt x="7811709" y="4824000"/>
                </a:lnTo>
                <a:lnTo>
                  <a:pt x="899592" y="4824000"/>
                </a:lnTo>
                <a:lnTo>
                  <a:pt x="0" y="4824000"/>
                </a:lnTo>
                <a:lnTo>
                  <a:pt x="0" y="1260000"/>
                </a:lnTo>
                <a:lnTo>
                  <a:pt x="0" y="1070340"/>
                </a:lnTo>
                <a:lnTo>
                  <a:pt x="0" y="630000"/>
                </a:lnTo>
                <a:cubicBezTo>
                  <a:pt x="0" y="282061"/>
                  <a:pt x="282061" y="0"/>
                  <a:pt x="630000" y="0"/>
                </a:cubicBezTo>
                <a:lnTo>
                  <a:pt x="89959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42DB61FD-4C10-4A3D-B3A5-9280AE50427E}" type="datetime1">
              <a:rPr lang="fr-FR" smtClean="0"/>
              <a:t>09/10/2024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5"/>
          </p:nvPr>
        </p:nvSpPr>
        <p:spPr bwMode="gray">
          <a:xfrm>
            <a:off x="1763713" y="6156000"/>
            <a:ext cx="6624637" cy="2329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6"/>
          </p:nvPr>
        </p:nvSpPr>
        <p:spPr bwMode="gray">
          <a:xfrm>
            <a:off x="7812089" y="6553200"/>
            <a:ext cx="576261" cy="152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332000" y="3258000"/>
            <a:ext cx="7812000" cy="3599677"/>
          </a:xfrm>
          <a:prstGeom prst="rect">
            <a:avLst/>
          </a:prstGeom>
        </p:spPr>
      </p:pic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32025" y="3077924"/>
            <a:ext cx="6588125" cy="301490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</a:defRPr>
            </a:lvl2pPr>
            <a:lvl3pPr mar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3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09"/>
          <a:stretch/>
        </p:blipFill>
        <p:spPr bwMode="gray">
          <a:xfrm>
            <a:off x="0" y="0"/>
            <a:ext cx="2520000" cy="1592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290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/>
          <a:stretch>
            <a:fillRect/>
          </a:stretch>
        </p:blipFill>
        <p:spPr bwMode="gray">
          <a:xfrm>
            <a:off x="1912930" y="2034001"/>
            <a:ext cx="7236000" cy="1998918"/>
          </a:xfrm>
          <a:custGeom>
            <a:avLst/>
            <a:gdLst>
              <a:gd name="connsiteX0" fmla="*/ 630000 w 7231070"/>
              <a:gd name="connsiteY0" fmla="*/ 0 h 1997556"/>
              <a:gd name="connsiteX1" fmla="*/ 899593 w 7231070"/>
              <a:gd name="connsiteY1" fmla="*/ 0 h 1997556"/>
              <a:gd name="connsiteX2" fmla="*/ 1260000 w 7231070"/>
              <a:gd name="connsiteY2" fmla="*/ 0 h 1997556"/>
              <a:gd name="connsiteX3" fmla="*/ 7230692 w 7231070"/>
              <a:gd name="connsiteY3" fmla="*/ 0 h 1997556"/>
              <a:gd name="connsiteX4" fmla="*/ 7230692 w 7231070"/>
              <a:gd name="connsiteY4" fmla="*/ 917880 h 1997556"/>
              <a:gd name="connsiteX5" fmla="*/ 7231070 w 7231070"/>
              <a:gd name="connsiteY5" fmla="*/ 917880 h 1997556"/>
              <a:gd name="connsiteX6" fmla="*/ 7231070 w 7231070"/>
              <a:gd name="connsiteY6" fmla="*/ 1997556 h 1997556"/>
              <a:gd name="connsiteX7" fmla="*/ 1 w 7231070"/>
              <a:gd name="connsiteY7" fmla="*/ 1997556 h 1997556"/>
              <a:gd name="connsiteX8" fmla="*/ 1 w 7231070"/>
              <a:gd name="connsiteY8" fmla="*/ 1260000 h 1997556"/>
              <a:gd name="connsiteX9" fmla="*/ 0 w 7231070"/>
              <a:gd name="connsiteY9" fmla="*/ 1260000 h 1997556"/>
              <a:gd name="connsiteX10" fmla="*/ 0 w 7231070"/>
              <a:gd name="connsiteY10" fmla="*/ 630000 h 1997556"/>
              <a:gd name="connsiteX11" fmla="*/ 630000 w 7231070"/>
              <a:gd name="connsiteY11" fmla="*/ 0 h 1997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231070" h="1997556">
                <a:moveTo>
                  <a:pt x="630000" y="0"/>
                </a:moveTo>
                <a:lnTo>
                  <a:pt x="899593" y="0"/>
                </a:lnTo>
                <a:lnTo>
                  <a:pt x="1260000" y="0"/>
                </a:lnTo>
                <a:lnTo>
                  <a:pt x="7230692" y="0"/>
                </a:lnTo>
                <a:lnTo>
                  <a:pt x="7230692" y="917880"/>
                </a:lnTo>
                <a:lnTo>
                  <a:pt x="7231070" y="917880"/>
                </a:lnTo>
                <a:lnTo>
                  <a:pt x="7231070" y="1997556"/>
                </a:lnTo>
                <a:lnTo>
                  <a:pt x="1" y="1997556"/>
                </a:lnTo>
                <a:lnTo>
                  <a:pt x="1" y="1260000"/>
                </a:lnTo>
                <a:lnTo>
                  <a:pt x="0" y="1260000"/>
                </a:lnTo>
                <a:lnTo>
                  <a:pt x="0" y="630000"/>
                </a:ln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</p:spPr>
      </p:pic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627784" y="4257092"/>
            <a:ext cx="6192366" cy="18357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2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solidFill>
                  <a:schemeClr val="accent2"/>
                </a:solidFill>
              </a:defRPr>
            </a:lvl2pPr>
            <a:lvl3pPr mar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2"/>
                </a:solidFill>
                <a:latin typeface="+mn-lt"/>
              </a:defRPr>
            </a:lvl3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8820150" y="6705600"/>
            <a:ext cx="321821" cy="152400"/>
          </a:xfrm>
        </p:spPr>
        <p:txBody>
          <a:bodyPr/>
          <a:lstStyle/>
          <a:p>
            <a:fld id="{1D6F72BC-51F6-4511-8CB4-7E24A9621DAC}" type="datetime1">
              <a:rPr lang="fr-FR" smtClean="0"/>
              <a:t>09/10/2024</a:t>
            </a:fld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15"/>
          </p:nvPr>
        </p:nvSpPr>
        <p:spPr bwMode="gray">
          <a:xfrm>
            <a:off x="1763713" y="6156000"/>
            <a:ext cx="6624637" cy="232968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13" name="Espace réservé du numéro de diapositive 9"/>
          <p:cNvSpPr>
            <a:spLocks noGrp="1"/>
          </p:cNvSpPr>
          <p:nvPr>
            <p:ph type="sldNum" sz="quarter" idx="16"/>
          </p:nvPr>
        </p:nvSpPr>
        <p:spPr bwMode="gray">
          <a:xfrm>
            <a:off x="7812089" y="6553200"/>
            <a:ext cx="576261" cy="1524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09"/>
          <a:stretch/>
        </p:blipFill>
        <p:spPr bwMode="gray">
          <a:xfrm>
            <a:off x="0" y="0"/>
            <a:ext cx="2520000" cy="1592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8359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_Ab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ag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12930" y="2034682"/>
            <a:ext cx="7236000" cy="1997556"/>
          </a:xfrm>
          <a:custGeom>
            <a:avLst/>
            <a:gdLst>
              <a:gd name="connsiteX0" fmla="*/ 630000 w 7231070"/>
              <a:gd name="connsiteY0" fmla="*/ 0 h 1997556"/>
              <a:gd name="connsiteX1" fmla="*/ 899593 w 7231070"/>
              <a:gd name="connsiteY1" fmla="*/ 0 h 1997556"/>
              <a:gd name="connsiteX2" fmla="*/ 1260000 w 7231070"/>
              <a:gd name="connsiteY2" fmla="*/ 0 h 1997556"/>
              <a:gd name="connsiteX3" fmla="*/ 7230692 w 7231070"/>
              <a:gd name="connsiteY3" fmla="*/ 0 h 1997556"/>
              <a:gd name="connsiteX4" fmla="*/ 7230692 w 7231070"/>
              <a:gd name="connsiteY4" fmla="*/ 917880 h 1997556"/>
              <a:gd name="connsiteX5" fmla="*/ 7231070 w 7231070"/>
              <a:gd name="connsiteY5" fmla="*/ 917880 h 1997556"/>
              <a:gd name="connsiteX6" fmla="*/ 7231070 w 7231070"/>
              <a:gd name="connsiteY6" fmla="*/ 1997556 h 1997556"/>
              <a:gd name="connsiteX7" fmla="*/ 1 w 7231070"/>
              <a:gd name="connsiteY7" fmla="*/ 1997556 h 1997556"/>
              <a:gd name="connsiteX8" fmla="*/ 1 w 7231070"/>
              <a:gd name="connsiteY8" fmla="*/ 1260000 h 1997556"/>
              <a:gd name="connsiteX9" fmla="*/ 0 w 7231070"/>
              <a:gd name="connsiteY9" fmla="*/ 1260000 h 1997556"/>
              <a:gd name="connsiteX10" fmla="*/ 0 w 7231070"/>
              <a:gd name="connsiteY10" fmla="*/ 630000 h 1997556"/>
              <a:gd name="connsiteX11" fmla="*/ 630000 w 7231070"/>
              <a:gd name="connsiteY11" fmla="*/ 0 h 19975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231070" h="1997556">
                <a:moveTo>
                  <a:pt x="630000" y="0"/>
                </a:moveTo>
                <a:lnTo>
                  <a:pt x="899593" y="0"/>
                </a:lnTo>
                <a:lnTo>
                  <a:pt x="1260000" y="0"/>
                </a:lnTo>
                <a:lnTo>
                  <a:pt x="7230692" y="0"/>
                </a:lnTo>
                <a:lnTo>
                  <a:pt x="7230692" y="917880"/>
                </a:lnTo>
                <a:lnTo>
                  <a:pt x="7231070" y="917880"/>
                </a:lnTo>
                <a:lnTo>
                  <a:pt x="7231070" y="1997556"/>
                </a:lnTo>
                <a:lnTo>
                  <a:pt x="1" y="1997556"/>
                </a:lnTo>
                <a:lnTo>
                  <a:pt x="1" y="1260000"/>
                </a:lnTo>
                <a:lnTo>
                  <a:pt x="0" y="1260000"/>
                </a:lnTo>
                <a:lnTo>
                  <a:pt x="0" y="630000"/>
                </a:ln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</p:spPr>
      </p:pic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627784" y="4257092"/>
            <a:ext cx="6192366" cy="18357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2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solidFill>
                  <a:schemeClr val="accent2"/>
                </a:solidFill>
              </a:defRPr>
            </a:lvl2pPr>
            <a:lvl3pPr mar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2"/>
                </a:solidFill>
                <a:latin typeface="+mn-lt"/>
              </a:defRPr>
            </a:lvl3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8820150" y="6705600"/>
            <a:ext cx="321821" cy="152400"/>
          </a:xfrm>
        </p:spPr>
        <p:txBody>
          <a:bodyPr/>
          <a:lstStyle/>
          <a:p>
            <a:fld id="{1D6F72BC-51F6-4511-8CB4-7E24A9621DAC}" type="datetime1">
              <a:rPr lang="fr-FR" smtClean="0"/>
              <a:t>09/10/2024</a:t>
            </a:fld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15"/>
          </p:nvPr>
        </p:nvSpPr>
        <p:spPr bwMode="gray">
          <a:xfrm>
            <a:off x="1763713" y="6156000"/>
            <a:ext cx="6624637" cy="232968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13" name="Espace réservé du numéro de diapositive 9"/>
          <p:cNvSpPr>
            <a:spLocks noGrp="1"/>
          </p:cNvSpPr>
          <p:nvPr>
            <p:ph type="sldNum" sz="quarter" idx="16"/>
          </p:nvPr>
        </p:nvSpPr>
        <p:spPr bwMode="gray">
          <a:xfrm>
            <a:off x="7812089" y="6553200"/>
            <a:ext cx="576261" cy="1524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09"/>
          <a:stretch/>
        </p:blipFill>
        <p:spPr bwMode="gray">
          <a:xfrm>
            <a:off x="0" y="0"/>
            <a:ext cx="2520000" cy="1592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4345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/>
          <a:stretch>
            <a:fillRect/>
          </a:stretch>
        </p:blipFill>
        <p:spPr bwMode="gray">
          <a:xfrm>
            <a:off x="1912930" y="2034002"/>
            <a:ext cx="7236000" cy="1998917"/>
          </a:xfrm>
          <a:custGeom>
            <a:avLst/>
            <a:gdLst>
              <a:gd name="connsiteX0" fmla="*/ 630000 w 7231070"/>
              <a:gd name="connsiteY0" fmla="*/ 0 h 1997555"/>
              <a:gd name="connsiteX1" fmla="*/ 899593 w 7231070"/>
              <a:gd name="connsiteY1" fmla="*/ 0 h 1997555"/>
              <a:gd name="connsiteX2" fmla="*/ 1260000 w 7231070"/>
              <a:gd name="connsiteY2" fmla="*/ 0 h 1997555"/>
              <a:gd name="connsiteX3" fmla="*/ 7230692 w 7231070"/>
              <a:gd name="connsiteY3" fmla="*/ 0 h 1997555"/>
              <a:gd name="connsiteX4" fmla="*/ 7230692 w 7231070"/>
              <a:gd name="connsiteY4" fmla="*/ 917880 h 1997555"/>
              <a:gd name="connsiteX5" fmla="*/ 7231070 w 7231070"/>
              <a:gd name="connsiteY5" fmla="*/ 917880 h 1997555"/>
              <a:gd name="connsiteX6" fmla="*/ 7231070 w 7231070"/>
              <a:gd name="connsiteY6" fmla="*/ 1997555 h 1997555"/>
              <a:gd name="connsiteX7" fmla="*/ 1 w 7231070"/>
              <a:gd name="connsiteY7" fmla="*/ 1997555 h 1997555"/>
              <a:gd name="connsiteX8" fmla="*/ 1 w 7231070"/>
              <a:gd name="connsiteY8" fmla="*/ 1260000 h 1997555"/>
              <a:gd name="connsiteX9" fmla="*/ 0 w 7231070"/>
              <a:gd name="connsiteY9" fmla="*/ 1260000 h 1997555"/>
              <a:gd name="connsiteX10" fmla="*/ 0 w 7231070"/>
              <a:gd name="connsiteY10" fmla="*/ 630000 h 1997555"/>
              <a:gd name="connsiteX11" fmla="*/ 630000 w 7231070"/>
              <a:gd name="connsiteY11" fmla="*/ 0 h 199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231070" h="1997555">
                <a:moveTo>
                  <a:pt x="630000" y="0"/>
                </a:moveTo>
                <a:lnTo>
                  <a:pt x="899593" y="0"/>
                </a:lnTo>
                <a:lnTo>
                  <a:pt x="1260000" y="0"/>
                </a:lnTo>
                <a:lnTo>
                  <a:pt x="7230692" y="0"/>
                </a:lnTo>
                <a:lnTo>
                  <a:pt x="7230692" y="917880"/>
                </a:lnTo>
                <a:lnTo>
                  <a:pt x="7231070" y="917880"/>
                </a:lnTo>
                <a:lnTo>
                  <a:pt x="7231070" y="1997555"/>
                </a:lnTo>
                <a:lnTo>
                  <a:pt x="1" y="1997555"/>
                </a:lnTo>
                <a:lnTo>
                  <a:pt x="1" y="1260000"/>
                </a:lnTo>
                <a:lnTo>
                  <a:pt x="0" y="1260000"/>
                </a:lnTo>
                <a:lnTo>
                  <a:pt x="0" y="630000"/>
                </a:ln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</p:spPr>
      </p:pic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627784" y="4257092"/>
            <a:ext cx="6192366" cy="18357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2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solidFill>
                  <a:schemeClr val="accent2"/>
                </a:solidFill>
              </a:defRPr>
            </a:lvl2pPr>
            <a:lvl3pPr mar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2"/>
                </a:solidFill>
                <a:latin typeface="+mn-lt"/>
              </a:defRPr>
            </a:lvl3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8820150" y="6705600"/>
            <a:ext cx="321821" cy="152400"/>
          </a:xfrm>
        </p:spPr>
        <p:txBody>
          <a:bodyPr/>
          <a:lstStyle/>
          <a:p>
            <a:fld id="{1363D951-4801-4CE4-994F-F71C8930CD4D}" type="datetime1">
              <a:rPr lang="fr-FR" smtClean="0"/>
              <a:t>09/10/2024</a:t>
            </a:fld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15"/>
          </p:nvPr>
        </p:nvSpPr>
        <p:spPr bwMode="gray">
          <a:xfrm>
            <a:off x="1763713" y="6156000"/>
            <a:ext cx="6624637" cy="232968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13" name="Espace réservé du numéro de diapositive 9"/>
          <p:cNvSpPr>
            <a:spLocks noGrp="1"/>
          </p:cNvSpPr>
          <p:nvPr>
            <p:ph type="sldNum" sz="quarter" idx="16"/>
          </p:nvPr>
        </p:nvSpPr>
        <p:spPr bwMode="gray">
          <a:xfrm>
            <a:off x="7812089" y="6553200"/>
            <a:ext cx="576261" cy="1524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09"/>
          <a:stretch/>
        </p:blipFill>
        <p:spPr bwMode="gray">
          <a:xfrm>
            <a:off x="0" y="0"/>
            <a:ext cx="2520000" cy="1592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5411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"/>
          <a:stretch>
            <a:fillRect/>
          </a:stretch>
        </p:blipFill>
        <p:spPr bwMode="gray">
          <a:xfrm>
            <a:off x="1912930" y="2034002"/>
            <a:ext cx="7236000" cy="1998917"/>
          </a:xfrm>
          <a:custGeom>
            <a:avLst/>
            <a:gdLst>
              <a:gd name="connsiteX0" fmla="*/ 630000 w 7231070"/>
              <a:gd name="connsiteY0" fmla="*/ 0 h 1997555"/>
              <a:gd name="connsiteX1" fmla="*/ 899593 w 7231070"/>
              <a:gd name="connsiteY1" fmla="*/ 0 h 1997555"/>
              <a:gd name="connsiteX2" fmla="*/ 1260000 w 7231070"/>
              <a:gd name="connsiteY2" fmla="*/ 0 h 1997555"/>
              <a:gd name="connsiteX3" fmla="*/ 7230692 w 7231070"/>
              <a:gd name="connsiteY3" fmla="*/ 0 h 1997555"/>
              <a:gd name="connsiteX4" fmla="*/ 7230692 w 7231070"/>
              <a:gd name="connsiteY4" fmla="*/ 917880 h 1997555"/>
              <a:gd name="connsiteX5" fmla="*/ 7231070 w 7231070"/>
              <a:gd name="connsiteY5" fmla="*/ 917880 h 1997555"/>
              <a:gd name="connsiteX6" fmla="*/ 7231070 w 7231070"/>
              <a:gd name="connsiteY6" fmla="*/ 1997555 h 1997555"/>
              <a:gd name="connsiteX7" fmla="*/ 1 w 7231070"/>
              <a:gd name="connsiteY7" fmla="*/ 1997555 h 1997555"/>
              <a:gd name="connsiteX8" fmla="*/ 1 w 7231070"/>
              <a:gd name="connsiteY8" fmla="*/ 1260000 h 1997555"/>
              <a:gd name="connsiteX9" fmla="*/ 0 w 7231070"/>
              <a:gd name="connsiteY9" fmla="*/ 1260000 h 1997555"/>
              <a:gd name="connsiteX10" fmla="*/ 0 w 7231070"/>
              <a:gd name="connsiteY10" fmla="*/ 630000 h 1997555"/>
              <a:gd name="connsiteX11" fmla="*/ 630000 w 7231070"/>
              <a:gd name="connsiteY11" fmla="*/ 0 h 1997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231070" h="1997555">
                <a:moveTo>
                  <a:pt x="630000" y="0"/>
                </a:moveTo>
                <a:lnTo>
                  <a:pt x="899593" y="0"/>
                </a:lnTo>
                <a:lnTo>
                  <a:pt x="1260000" y="0"/>
                </a:lnTo>
                <a:lnTo>
                  <a:pt x="7230692" y="0"/>
                </a:lnTo>
                <a:lnTo>
                  <a:pt x="7230692" y="917880"/>
                </a:lnTo>
                <a:lnTo>
                  <a:pt x="7231070" y="917880"/>
                </a:lnTo>
                <a:lnTo>
                  <a:pt x="7231070" y="1997555"/>
                </a:lnTo>
                <a:lnTo>
                  <a:pt x="1" y="1997555"/>
                </a:lnTo>
                <a:lnTo>
                  <a:pt x="1" y="1260000"/>
                </a:lnTo>
                <a:lnTo>
                  <a:pt x="0" y="1260000"/>
                </a:lnTo>
                <a:lnTo>
                  <a:pt x="0" y="630000"/>
                </a:ln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</p:spPr>
      </p:pic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627784" y="4257092"/>
            <a:ext cx="6192366" cy="18357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2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solidFill>
                  <a:schemeClr val="accent2"/>
                </a:solidFill>
              </a:defRPr>
            </a:lvl2pPr>
            <a:lvl3pPr mar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2"/>
                </a:solidFill>
                <a:latin typeface="+mn-lt"/>
              </a:defRPr>
            </a:lvl3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8820150" y="6705600"/>
            <a:ext cx="321821" cy="152400"/>
          </a:xfrm>
        </p:spPr>
        <p:txBody>
          <a:bodyPr/>
          <a:lstStyle/>
          <a:p>
            <a:fld id="{657C119C-9FF3-4265-A74F-DEFB2592FEE6}" type="datetime1">
              <a:rPr lang="fr-FR" smtClean="0"/>
              <a:t>09/10/2024</a:t>
            </a:fld>
            <a:endParaRPr lang="fr-FR"/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15"/>
          </p:nvPr>
        </p:nvSpPr>
        <p:spPr bwMode="gray">
          <a:xfrm>
            <a:off x="1763713" y="6156000"/>
            <a:ext cx="6624637" cy="232968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13" name="Espace réservé du numéro de diapositive 9"/>
          <p:cNvSpPr>
            <a:spLocks noGrp="1"/>
          </p:cNvSpPr>
          <p:nvPr>
            <p:ph type="sldNum" sz="quarter" idx="16"/>
          </p:nvPr>
        </p:nvSpPr>
        <p:spPr bwMode="gray">
          <a:xfrm>
            <a:off x="7812089" y="6553200"/>
            <a:ext cx="576261" cy="1524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09"/>
          <a:stretch/>
        </p:blipFill>
        <p:spPr bwMode="gray">
          <a:xfrm>
            <a:off x="0" y="0"/>
            <a:ext cx="2520000" cy="1592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3871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1440000" cy="1080381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6318504"/>
            <a:ext cx="9144000" cy="539496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1763712" y="404813"/>
            <a:ext cx="7056437" cy="11525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1368425" y="1989138"/>
            <a:ext cx="7451725" cy="4103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8820150" y="6705600"/>
            <a:ext cx="321821" cy="152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E840206C-2C22-4A63-8F22-F4AB98B66C96}" type="datetime1">
              <a:rPr lang="fr-FR" smtClean="0"/>
              <a:t>09/10/202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763713" y="6318053"/>
            <a:ext cx="7056437" cy="21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243889" y="6705600"/>
            <a:ext cx="576261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accent6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77" r:id="rId2"/>
    <p:sldLayoutId id="2147483684" r:id="rId3"/>
    <p:sldLayoutId id="2147483691" r:id="rId4"/>
    <p:sldLayoutId id="2147483668" r:id="rId5"/>
    <p:sldLayoutId id="2147483687" r:id="rId6"/>
    <p:sldLayoutId id="2147483693" r:id="rId7"/>
    <p:sldLayoutId id="2147483688" r:id="rId8"/>
    <p:sldLayoutId id="2147483689" r:id="rId9"/>
    <p:sldLayoutId id="2147483690" r:id="rId10"/>
    <p:sldLayoutId id="2147483671" r:id="rId11"/>
    <p:sldLayoutId id="2147483672" r:id="rId12"/>
    <p:sldLayoutId id="2147483674" r:id="rId13"/>
    <p:sldLayoutId id="2147483675" r:id="rId14"/>
    <p:sldLayoutId id="2147483676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900" b="0" kern="1200">
          <a:solidFill>
            <a:schemeClr val="accent6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anose="020B0604020202020204" pitchFamily="34" charset="0"/>
        <a:buNone/>
        <a:defRPr sz="1600" kern="1200">
          <a:solidFill>
            <a:schemeClr val="accent2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None/>
        <a:defRPr sz="12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396000" indent="0" algn="l" defTabSz="914400" rtl="0" eaLnBrk="1" latinLnBrk="0" hangingPunct="1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anose="020B0604020202020204" pitchFamily="34" charset="0"/>
        <a:buNone/>
        <a:defRPr sz="1400" kern="1200">
          <a:solidFill>
            <a:schemeClr val="accent2"/>
          </a:solidFill>
          <a:latin typeface="+mj-lt"/>
          <a:ea typeface="+mn-ea"/>
          <a:cs typeface="+mn-cs"/>
        </a:defRPr>
      </a:lvl3pPr>
      <a:lvl4pPr marL="396000" indent="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None/>
        <a:defRPr sz="12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1080000" indent="0" algn="l" defTabSz="914400" rtl="0" eaLnBrk="1" latinLnBrk="0" hangingPunct="1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anose="020B0604020202020204" pitchFamily="34" charset="0"/>
        <a:buNone/>
        <a:defRPr sz="1200" kern="1200">
          <a:solidFill>
            <a:schemeClr val="accent6"/>
          </a:solidFill>
          <a:latin typeface="+mj-lt"/>
          <a:ea typeface="+mn-ea"/>
          <a:cs typeface="+mn-cs"/>
        </a:defRPr>
      </a:lvl5pPr>
      <a:lvl6pPr marL="1080000" indent="0" algn="l" defTabSz="914400" rtl="0" eaLnBrk="1" latinLnBrk="0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50" kern="1200">
          <a:solidFill>
            <a:schemeClr val="accent6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grdf.sharepoint.com/:x:/r/sites/ProjetS4HANARAPSODIE/_layouts/15/doc2.aspx?sourcedoc=%7B21F900A1-A153-47FC-8E3E-9835013A015D%7D&amp;file=GRDF_S4_AA_1604_Architecture%20de%20Haut%20Niveau%20(High%20Level).xlsx&amp;action=default&amp;mobileredirect=true" TargetMode="Externa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90CE3-DE4B-4E28-B9A9-C34CA3BB6CE3}" type="datetime1">
              <a:rPr lang="fr-FR" smtClean="0"/>
              <a:t>09/10/202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C140CD-8AED-46FF-A9A2-77308F3F39AE}" type="slidenum">
              <a:rPr lang="fr-FR" smtClean="0"/>
              <a:pPr/>
              <a:t>1</a:t>
            </a:fld>
            <a:endParaRPr lang="fr-FR"/>
          </a:p>
        </p:txBody>
      </p:sp>
      <p:sp>
        <p:nvSpPr>
          <p:cNvPr id="6" name="Espace réservé du texte 1">
            <a:extLst>
              <a:ext uri="{FF2B5EF4-FFF2-40B4-BE49-F238E27FC236}">
                <a16:creationId xmlns:a16="http://schemas.microsoft.com/office/drawing/2014/main" id="{83699AEE-71BC-79EE-D998-F1C188782C11}"/>
              </a:ext>
            </a:extLst>
          </p:cNvPr>
          <p:cNvSpPr txBox="1">
            <a:spLocks/>
          </p:cNvSpPr>
          <p:nvPr/>
        </p:nvSpPr>
        <p:spPr bwMode="gray">
          <a:xfrm>
            <a:off x="1475656" y="1772816"/>
            <a:ext cx="5832326" cy="5760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9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1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39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80000" indent="0" algn="l" defTabSz="914400" rtl="0" eaLnBrk="1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5pPr>
            <a:lvl6pPr marL="108000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5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ts val="0"/>
              </a:spcBef>
            </a:pPr>
            <a:endParaRPr lang="fr-FR" sz="2900"/>
          </a:p>
          <a:p>
            <a:pPr lvl="2"/>
            <a:endParaRPr lang="fr-FR"/>
          </a:p>
        </p:txBody>
      </p:sp>
      <p:sp>
        <p:nvSpPr>
          <p:cNvPr id="7" name="Espace réservé du texte 1">
            <a:extLst>
              <a:ext uri="{FF2B5EF4-FFF2-40B4-BE49-F238E27FC236}">
                <a16:creationId xmlns:a16="http://schemas.microsoft.com/office/drawing/2014/main" id="{E4793328-2DF9-7355-2DF2-D4ADA49DEEA1}"/>
              </a:ext>
            </a:extLst>
          </p:cNvPr>
          <p:cNvSpPr txBox="1">
            <a:spLocks/>
          </p:cNvSpPr>
          <p:nvPr/>
        </p:nvSpPr>
        <p:spPr bwMode="gray">
          <a:xfrm>
            <a:off x="2639122" y="206949"/>
            <a:ext cx="6304156" cy="13498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9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1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39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80000" indent="0" algn="l" defTabSz="914400" rtl="0" eaLnBrk="1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5pPr>
            <a:lvl6pPr marL="108000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5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spcBef>
                <a:spcPts val="0"/>
              </a:spcBef>
            </a:pPr>
            <a:r>
              <a:rPr lang="fr-FR" sz="2400" b="1" dirty="0">
                <a:solidFill>
                  <a:schemeClr val="accent2"/>
                </a:solidFill>
                <a:latin typeface="Calibri"/>
                <a:cs typeface="Calibri"/>
              </a:rPr>
              <a:t>Focus sur l’approvisionnement des dépôts Régionaux – Analyse des enjeux d’approvisionnement et des outils utilisés</a:t>
            </a:r>
            <a:endParaRPr lang="fr-FR" dirty="0"/>
          </a:p>
          <a:p>
            <a:pPr lvl="2" algn="r">
              <a:spcBef>
                <a:spcPts val="0"/>
              </a:spcBef>
            </a:pPr>
            <a:endParaRPr lang="fr-FR" dirty="0">
              <a:solidFill>
                <a:schemeClr val="accent2"/>
              </a:solidFill>
              <a:latin typeface="Calibri"/>
              <a:cs typeface="Calibri"/>
            </a:endParaRPr>
          </a:p>
          <a:p>
            <a:pPr lvl="2" algn="r">
              <a:spcBef>
                <a:spcPts val="0"/>
              </a:spcBef>
            </a:pPr>
            <a:r>
              <a:rPr lang="fr-FR" dirty="0">
                <a:solidFill>
                  <a:schemeClr val="accent2"/>
                </a:solidFill>
                <a:latin typeface="Calibri"/>
                <a:cs typeface="Calibri"/>
              </a:rPr>
              <a:t> Octobre 2024</a:t>
            </a:r>
            <a:endParaRPr lang="fr-FR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5465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0016F4-7CA6-E70B-5190-8EFB131E86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pour une image  7" descr="Une image contenant assis, casque, table, petit&#10;&#10;Description générée automatiquement">
            <a:extLst>
              <a:ext uri="{FF2B5EF4-FFF2-40B4-BE49-F238E27FC236}">
                <a16:creationId xmlns:a16="http://schemas.microsoft.com/office/drawing/2014/main" id="{AAE3C634-B65E-431B-5896-953B0136671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888" b="18888"/>
          <a:stretch>
            <a:fillRect/>
          </a:stretch>
        </p:blipFill>
        <p:spPr/>
      </p:pic>
      <p:sp>
        <p:nvSpPr>
          <p:cNvPr id="80" name="Titre 1">
            <a:extLst>
              <a:ext uri="{FF2B5EF4-FFF2-40B4-BE49-F238E27FC236}">
                <a16:creationId xmlns:a16="http://schemas.microsoft.com/office/drawing/2014/main" id="{AF26F73A-7AA0-EB08-1D4E-2678BEF9B6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9569" y="3548063"/>
            <a:ext cx="4779170" cy="1215628"/>
          </a:xfrm>
        </p:spPr>
        <p:txBody>
          <a:bodyPr vert="horz" lIns="54000" tIns="0" rIns="72000" bIns="0" rtlCol="0" anchor="b" anchorCtr="0">
            <a:noAutofit/>
          </a:bodyPr>
          <a:lstStyle/>
          <a:p>
            <a:r>
              <a:rPr lang="en-US" sz="2400" b="1" dirty="0" err="1">
                <a:solidFill>
                  <a:schemeClr val="accent2"/>
                </a:solidFill>
                <a:latin typeface="Calibri"/>
                <a:ea typeface="Calibri" panose="020F0502020204030204" pitchFamily="34" charset="0"/>
                <a:cs typeface="Calibri"/>
              </a:rPr>
              <a:t>Analyse</a:t>
            </a:r>
            <a:r>
              <a:rPr lang="en-US" sz="2400" b="1" dirty="0">
                <a:solidFill>
                  <a:schemeClr val="accent2"/>
                </a:solidFill>
                <a:latin typeface="Calibri"/>
                <a:ea typeface="Calibri" panose="020F0502020204030204" pitchFamily="34" charset="0"/>
                <a:cs typeface="Calibri"/>
              </a:rPr>
              <a:t> des modules SAP</a:t>
            </a:r>
            <a:endParaRPr lang="en-US" sz="2400" b="1" dirty="0">
              <a:solidFill>
                <a:schemeClr val="accent2"/>
              </a:solidFill>
              <a:latin typeface="Calibri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AF7A01D-D5AA-205A-57F5-160BA339DE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10</a:t>
            </a:fld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8098351-F385-9E87-D6BB-DFA481977B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185267"/>
            <a:ext cx="1772216" cy="1512170"/>
          </a:xfrm>
        </p:spPr>
        <p:txBody>
          <a:bodyPr/>
          <a:lstStyle/>
          <a:p>
            <a:r>
              <a:rPr lang="fr-FR" u="sng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4977082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6D19E4E-890B-71BA-05AD-C79CA75A27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53CC5EC-4E01-5C96-8BD3-0B6B40E423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95E54-0000-4780-9DB7-3A9BB1262BE7}" type="datetime1">
              <a:rPr lang="fr-FR" smtClean="0"/>
              <a:t>09/10/2024</a:t>
            </a:fld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DC3F5401-8802-7A30-8F70-04243337A7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fr-FR" smtClean="0"/>
              <a:t>11</a:t>
            </a:fld>
            <a:endParaRPr lang="fr-FR"/>
          </a:p>
        </p:txBody>
      </p:sp>
      <p:sp>
        <p:nvSpPr>
          <p:cNvPr id="6" name="Espace réservé du texte 4">
            <a:extLst>
              <a:ext uri="{FF2B5EF4-FFF2-40B4-BE49-F238E27FC236}">
                <a16:creationId xmlns:a16="http://schemas.microsoft.com/office/drawing/2014/main" id="{E59BE412-85DD-E3F1-A722-5CB1DEC041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63713" y="404813"/>
            <a:ext cx="7056437" cy="1152525"/>
          </a:xfrm>
        </p:spPr>
        <p:txBody>
          <a:bodyPr/>
          <a:lstStyle/>
          <a:p>
            <a:r>
              <a:rPr lang="fr-FR" b="1" dirty="0">
                <a:solidFill>
                  <a:schemeClr val="accent4"/>
                </a:solidFill>
                <a:latin typeface="Calibri"/>
                <a:ea typeface="+mn-lt"/>
                <a:cs typeface="+mn-lt"/>
              </a:rPr>
              <a:t>Analyse des modules SAP</a:t>
            </a:r>
          </a:p>
        </p:txBody>
      </p:sp>
      <p:graphicFrame>
        <p:nvGraphicFramePr>
          <p:cNvPr id="11" name="Diagramme 10">
            <a:extLst>
              <a:ext uri="{FF2B5EF4-FFF2-40B4-BE49-F238E27FC236}">
                <a16:creationId xmlns:a16="http://schemas.microsoft.com/office/drawing/2014/main" id="{E6533CFF-6BDD-B44C-9B33-7A21884AE7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509369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013240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44CDA0-5287-531A-9E5C-45692FC084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BAD7B08-D9F8-93EC-B9DF-448B03DD3F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20150" y="6705600"/>
            <a:ext cx="321821" cy="152400"/>
          </a:xfrm>
        </p:spPr>
        <p:txBody>
          <a:bodyPr/>
          <a:lstStyle/>
          <a:p>
            <a:fld id="{69695E54-0000-4780-9DB7-3A9BB1262BE7}" type="datetime1">
              <a:rPr lang="fr-FR" smtClean="0"/>
              <a:pPr/>
              <a:t>09/10/2024</a:t>
            </a:fld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FFBB7D37-1856-96E6-8CB7-EF1D73154C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243889" y="6705600"/>
            <a:ext cx="576261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97777B2-823B-94B1-523A-31FB4F562D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06993" y="334346"/>
            <a:ext cx="3563456" cy="375341"/>
          </a:xfrm>
        </p:spPr>
        <p:txBody>
          <a:bodyPr/>
          <a:lstStyle/>
          <a:p>
            <a:r>
              <a:rPr lang="fr-FR" b="1">
                <a:solidFill>
                  <a:schemeClr val="accent4"/>
                </a:solidFill>
                <a:latin typeface="Calibri"/>
                <a:ea typeface="Calibri"/>
                <a:cs typeface="Calibri"/>
              </a:rPr>
              <a:t>Planning des ateliers</a:t>
            </a:r>
          </a:p>
        </p:txBody>
      </p:sp>
      <p:graphicFrame>
        <p:nvGraphicFramePr>
          <p:cNvPr id="6" name="Tableau 12">
            <a:extLst>
              <a:ext uri="{FF2B5EF4-FFF2-40B4-BE49-F238E27FC236}">
                <a16:creationId xmlns:a16="http://schemas.microsoft.com/office/drawing/2014/main" id="{0229ED5D-4A35-B2A1-70C3-7E9F7841E688}"/>
              </a:ext>
            </a:extLst>
          </p:cNvPr>
          <p:cNvGraphicFramePr>
            <a:graphicFrameLocks noGrp="1"/>
          </p:cNvGraphicFramePr>
          <p:nvPr/>
        </p:nvGraphicFramePr>
        <p:xfrm>
          <a:off x="515839" y="1156105"/>
          <a:ext cx="8539480" cy="5382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141574944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21823543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17617651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7347445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81230928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72624646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6082705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47912692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60673456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66321292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79883725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27008076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8943603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036138687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1853941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75796972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77804718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6914464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290087934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70328828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87188378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6689226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1631921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56234173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4444896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4242123143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22960427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33450706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81511686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80575368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5849993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82371612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93122797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92551257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428479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774075455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03386090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85117892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055321064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676595338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52160140"/>
                    </a:ext>
                  </a:extLst>
                </a:gridCol>
              </a:tblGrid>
              <a:tr h="222331">
                <a:tc gridSpan="15">
                  <a:txBody>
                    <a:bodyPr/>
                    <a:lstStyle/>
                    <a:p>
                      <a:pPr algn="ctr"/>
                      <a:r>
                        <a:rPr lang="en-US" sz="800" b="1" kern="1200">
                          <a:solidFill>
                            <a:schemeClr val="accent6"/>
                          </a:solidFill>
                          <a:latin typeface="LVMH"/>
                          <a:ea typeface="+mn-ea"/>
                          <a:cs typeface="+mn-cs"/>
                        </a:rPr>
                        <a:t>Avril</a:t>
                      </a:r>
                    </a:p>
                  </a:txBody>
                  <a:tcPr marL="0" marR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gridSpan="21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Mai</a:t>
                      </a:r>
                      <a:endParaRPr lang="en-US" sz="800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>
                      <a:noFill/>
                    </a:lnT>
                    <a:lnB w="0"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</a:lnR>
                    <a:lnT w="6350">
                      <a:solidFill>
                        <a:schemeClr val="bg1"/>
                      </a:solidFill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en-US" sz="800" b="1" kern="1200">
                          <a:solidFill>
                            <a:schemeClr val="accent6"/>
                          </a:solidFill>
                          <a:latin typeface="LVMH"/>
                          <a:ea typeface="+mn-ea"/>
                          <a:cs typeface="+mn-cs"/>
                        </a:rPr>
                        <a:t>June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80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435956"/>
                  </a:ext>
                </a:extLst>
              </a:tr>
              <a:tr h="27956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800" kern="1200">
                          <a:solidFill>
                            <a:schemeClr val="accent6"/>
                          </a:solidFill>
                          <a:latin typeface="LVMH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800" kern="1200">
                          <a:solidFill>
                            <a:schemeClr val="accent6"/>
                          </a:solidFill>
                          <a:latin typeface="LVMH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800" kern="1200">
                          <a:solidFill>
                            <a:schemeClr val="accent6"/>
                          </a:solidFill>
                          <a:latin typeface="LVMH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800" kern="1200">
                          <a:solidFill>
                            <a:schemeClr val="accent6"/>
                          </a:solidFill>
                          <a:latin typeface="LVMH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800" kern="1200">
                          <a:solidFill>
                            <a:schemeClr val="accent6"/>
                          </a:solidFill>
                          <a:latin typeface="LVMH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15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16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17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18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19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3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4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5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6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9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30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1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3</a:t>
                      </a:r>
                    </a:p>
                  </a:txBody>
                  <a:tcPr marL="0" marR="0" anchor="ctr"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defTabSz="914400" rtl="0" eaLnBrk="1" latinLnBrk="0" hangingPunct="1">
                        <a:buNone/>
                      </a:pPr>
                      <a:r>
                        <a:rPr lang="fr-FR" sz="800" kern="1200">
                          <a:solidFill>
                            <a:schemeClr val="accent6"/>
                          </a:solidFill>
                          <a:latin typeface="LVMH"/>
                          <a:ea typeface="+mn-ea"/>
                          <a:cs typeface="+mn-cs"/>
                        </a:rPr>
                        <a:t>6-10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13</a:t>
                      </a:r>
                      <a:endParaRPr lang="en-US" sz="800"/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14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15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16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0"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17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chemeClr val="bg1"/>
                      </a:solidFill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0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1</a:t>
                      </a: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2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3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4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7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8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29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30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31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3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4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5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6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fr-FR" sz="800">
                          <a:solidFill>
                            <a:schemeClr val="accent6"/>
                          </a:solidFill>
                          <a:latin typeface="LVMH"/>
                        </a:rPr>
                        <a:t>7</a:t>
                      </a:r>
                    </a:p>
                  </a:txBody>
                  <a:tcPr marL="0" marR="0" anchor="ctr"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3685805"/>
                  </a:ext>
                </a:extLst>
              </a:tr>
              <a:tr h="81349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0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0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0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0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 panose="02000000000000000000" pitchFamily="50" charset="0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>
                      <a:solidFill>
                        <a:schemeClr val="bg1"/>
                      </a:solidFill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 panose="02000000000000000000" pitchFamily="50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 panose="02000000000000000000" pitchFamily="50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4066558"/>
                  </a:ext>
                </a:extLst>
              </a:tr>
              <a:tr h="81349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b="1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 panose="02000000000000000000" pitchFamily="50" charset="0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 panose="02000000000000000000" pitchFamily="50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 panose="02000000000000000000" pitchFamily="50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1769024"/>
                  </a:ext>
                </a:extLst>
              </a:tr>
              <a:tr h="81349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 panose="02000000000000000000" pitchFamily="50" charset="0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 panose="02000000000000000000" pitchFamily="50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 panose="02000000000000000000" pitchFamily="50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626478"/>
                  </a:ext>
                </a:extLst>
              </a:tr>
              <a:tr h="81349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fr-FR" sz="1000" kern="1200">
                        <a:solidFill>
                          <a:schemeClr val="accent6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>
                        <a:latin typeface="LVMH" panose="02000000000000000000" pitchFamily="50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9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 panose="02000000000000000000" pitchFamily="50" charset="0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 panose="02000000000000000000" pitchFamily="50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600" kern="1200">
                        <a:solidFill>
                          <a:schemeClr val="dk1"/>
                        </a:solidFill>
                        <a:latin typeface="LVMH" panose="02000000000000000000" pitchFamily="50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fr-FR">
                        <a:latin typeface="LVMH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2486491"/>
                  </a:ext>
                </a:extLst>
              </a:tr>
              <a:tr h="813493"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626139"/>
                  </a:ext>
                </a:extLst>
              </a:tr>
              <a:tr h="813493"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9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>
                      <a:noFill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buNone/>
                      </a:pPr>
                      <a:endParaRPr lang="fr-FR" sz="1800" kern="1200">
                        <a:solidFill>
                          <a:schemeClr val="dk1"/>
                        </a:solidFill>
                        <a:latin typeface="LVMH"/>
                        <a:ea typeface="+mn-ea"/>
                        <a:cs typeface="+mn-cs"/>
                      </a:endParaRPr>
                    </a:p>
                  </a:txBody>
                  <a:tcPr>
                    <a:lnL w="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854055"/>
                  </a:ext>
                </a:extLst>
              </a:tr>
            </a:tbl>
          </a:graphicData>
        </a:graphic>
      </p:graphicFrame>
      <p:sp>
        <p:nvSpPr>
          <p:cNvPr id="65" name="TextBox 35">
            <a:extLst>
              <a:ext uri="{FF2B5EF4-FFF2-40B4-BE49-F238E27FC236}">
                <a16:creationId xmlns:a16="http://schemas.microsoft.com/office/drawing/2014/main" id="{BB413DEE-7EC2-07D2-4636-3DB5E0D12D4C}"/>
              </a:ext>
            </a:extLst>
          </p:cNvPr>
          <p:cNvSpPr txBox="1"/>
          <p:nvPr/>
        </p:nvSpPr>
        <p:spPr>
          <a:xfrm>
            <a:off x="513746" y="896340"/>
            <a:ext cx="8553969" cy="204695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non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LVMH" charset="0"/>
                <a:cs typeface="Arial"/>
              </a:rPr>
              <a:t>2024 – </a:t>
            </a:r>
            <a:r>
              <a:rPr lang="fr-FR" sz="1400" b="1">
                <a:solidFill>
                  <a:srgbClr val="FFFFFF"/>
                </a:solidFill>
                <a:latin typeface="Arial"/>
                <a:ea typeface="LVMH" charset="0"/>
                <a:cs typeface="Arial"/>
              </a:rPr>
              <a:t>8</a:t>
            </a:r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LVMH" charset="0"/>
                <a:cs typeface="Arial"/>
              </a:rPr>
              <a:t> </a:t>
            </a:r>
            <a:r>
              <a:rPr kumimoji="0" lang="fr-FR" sz="14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LVMH" charset="0"/>
                <a:cs typeface="Arial"/>
              </a:rPr>
              <a:t>weeks</a:t>
            </a:r>
            <a:endParaRPr kumimoji="0" lang="fr-FR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LVMH" charset="0"/>
              <a:cs typeface="Arial" panose="020B0604020202020204" pitchFamily="34" charset="0"/>
            </a:endParaRPr>
          </a:p>
        </p:txBody>
      </p:sp>
      <p:sp>
        <p:nvSpPr>
          <p:cNvPr id="70" name="TextBox 35">
            <a:extLst>
              <a:ext uri="{FF2B5EF4-FFF2-40B4-BE49-F238E27FC236}">
                <a16:creationId xmlns:a16="http://schemas.microsoft.com/office/drawing/2014/main" id="{5E666351-EC77-57A0-C27D-7DD300CC9B27}"/>
              </a:ext>
            </a:extLst>
          </p:cNvPr>
          <p:cNvSpPr txBox="1"/>
          <p:nvPr/>
        </p:nvSpPr>
        <p:spPr>
          <a:xfrm rot="16200000">
            <a:off x="-139824" y="3517620"/>
            <a:ext cx="800354" cy="343345"/>
          </a:xfrm>
          <a:prstGeom prst="rect">
            <a:avLst/>
          </a:prstGeom>
          <a:solidFill>
            <a:schemeClr val="accent3"/>
          </a:solidFill>
        </p:spPr>
        <p:txBody>
          <a:bodyPr wrap="non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plicative</a:t>
            </a:r>
          </a:p>
        </p:txBody>
      </p:sp>
      <p:sp>
        <p:nvSpPr>
          <p:cNvPr id="78" name="TextBox 35">
            <a:extLst>
              <a:ext uri="{FF2B5EF4-FFF2-40B4-BE49-F238E27FC236}">
                <a16:creationId xmlns:a16="http://schemas.microsoft.com/office/drawing/2014/main" id="{5EB7B050-BB34-852D-9667-EAFE3AC3FC8C}"/>
              </a:ext>
            </a:extLst>
          </p:cNvPr>
          <p:cNvSpPr txBox="1"/>
          <p:nvPr/>
        </p:nvSpPr>
        <p:spPr>
          <a:xfrm rot="16200000">
            <a:off x="-143516" y="4335071"/>
            <a:ext cx="800350" cy="343343"/>
          </a:xfrm>
          <a:prstGeom prst="rect">
            <a:avLst/>
          </a:prstGeom>
          <a:solidFill>
            <a:schemeClr val="accent4"/>
          </a:solidFill>
        </p:spPr>
        <p:txBody>
          <a:bodyPr wrap="non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900" b="1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égration</a:t>
            </a:r>
            <a:endParaRPr kumimoji="0" lang="fr-FR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TextBox 35">
            <a:extLst>
              <a:ext uri="{FF2B5EF4-FFF2-40B4-BE49-F238E27FC236}">
                <a16:creationId xmlns:a16="http://schemas.microsoft.com/office/drawing/2014/main" id="{AB9F6AE1-746B-B2EC-B04D-24CFC8323E14}"/>
              </a:ext>
            </a:extLst>
          </p:cNvPr>
          <p:cNvSpPr txBox="1"/>
          <p:nvPr/>
        </p:nvSpPr>
        <p:spPr>
          <a:xfrm rot="16200000">
            <a:off x="-143821" y="5149749"/>
            <a:ext cx="800352" cy="343345"/>
          </a:xfrm>
          <a:prstGeom prst="rect">
            <a:avLst/>
          </a:prstGeom>
          <a:solidFill>
            <a:schemeClr val="accent5"/>
          </a:solidFill>
        </p:spPr>
        <p:txBody>
          <a:bodyPr wrap="non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onnées</a:t>
            </a:r>
          </a:p>
        </p:txBody>
      </p:sp>
      <p:sp>
        <p:nvSpPr>
          <p:cNvPr id="80" name="TextBox 35">
            <a:extLst>
              <a:ext uri="{FF2B5EF4-FFF2-40B4-BE49-F238E27FC236}">
                <a16:creationId xmlns:a16="http://schemas.microsoft.com/office/drawing/2014/main" id="{80171A03-4C7B-AB21-1F8F-3C5E9AC46427}"/>
              </a:ext>
            </a:extLst>
          </p:cNvPr>
          <p:cNvSpPr txBox="1"/>
          <p:nvPr/>
        </p:nvSpPr>
        <p:spPr>
          <a:xfrm rot="16200000">
            <a:off x="-143821" y="5967196"/>
            <a:ext cx="800349" cy="343346"/>
          </a:xfrm>
          <a:prstGeom prst="rect">
            <a:avLst/>
          </a:prstGeom>
          <a:solidFill>
            <a:schemeClr val="accent6"/>
          </a:solidFill>
        </p:spPr>
        <p:txBody>
          <a:bodyPr wrap="non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frastructure</a:t>
            </a:r>
          </a:p>
        </p:txBody>
      </p:sp>
      <p:sp>
        <p:nvSpPr>
          <p:cNvPr id="147" name="Isosceles Triangle 21">
            <a:extLst>
              <a:ext uri="{FF2B5EF4-FFF2-40B4-BE49-F238E27FC236}">
                <a16:creationId xmlns:a16="http://schemas.microsoft.com/office/drawing/2014/main" id="{D371B441-C52B-D121-3327-35EE4CBA0CAE}"/>
              </a:ext>
            </a:extLst>
          </p:cNvPr>
          <p:cNvSpPr/>
          <p:nvPr/>
        </p:nvSpPr>
        <p:spPr>
          <a:xfrm>
            <a:off x="970812" y="2057612"/>
            <a:ext cx="170595" cy="176356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2" name="TextBox 50">
            <a:extLst>
              <a:ext uri="{FF2B5EF4-FFF2-40B4-BE49-F238E27FC236}">
                <a16:creationId xmlns:a16="http://schemas.microsoft.com/office/drawing/2014/main" id="{9EA83CDB-86B4-FC27-EF32-902104000F4D}"/>
              </a:ext>
            </a:extLst>
          </p:cNvPr>
          <p:cNvSpPr txBox="1"/>
          <p:nvPr/>
        </p:nvSpPr>
        <p:spPr>
          <a:xfrm>
            <a:off x="8176773" y="640972"/>
            <a:ext cx="868590" cy="1077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>
              <a:defRPr/>
            </a:pPr>
            <a:r>
              <a:rPr kumimoji="0" lang="fr-FR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telier </a:t>
            </a:r>
            <a:r>
              <a:rPr lang="fr-FR" sz="700">
                <a:solidFill>
                  <a:srgbClr val="000000"/>
                </a:solidFill>
                <a:latin typeface="Arial"/>
                <a:cs typeface="Arial"/>
                <a:sym typeface="Arial"/>
              </a:rPr>
              <a:t>non planifié</a:t>
            </a:r>
            <a:endParaRPr kumimoji="0" lang="fr-FR" sz="18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4" name="Isosceles Triangle 21">
            <a:extLst>
              <a:ext uri="{FF2B5EF4-FFF2-40B4-BE49-F238E27FC236}">
                <a16:creationId xmlns:a16="http://schemas.microsoft.com/office/drawing/2014/main" id="{D4BA2CB3-FE7A-65DE-AA13-FDE4EA98D9BB}"/>
              </a:ext>
            </a:extLst>
          </p:cNvPr>
          <p:cNvSpPr/>
          <p:nvPr/>
        </p:nvSpPr>
        <p:spPr>
          <a:xfrm>
            <a:off x="8006178" y="310390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" name="Isosceles Triangle 21">
            <a:extLst>
              <a:ext uri="{FF2B5EF4-FFF2-40B4-BE49-F238E27FC236}">
                <a16:creationId xmlns:a16="http://schemas.microsoft.com/office/drawing/2014/main" id="{013887F7-1F92-DB27-C1D0-577147FE7829}"/>
              </a:ext>
            </a:extLst>
          </p:cNvPr>
          <p:cNvSpPr/>
          <p:nvPr/>
        </p:nvSpPr>
        <p:spPr>
          <a:xfrm>
            <a:off x="8005790" y="572637"/>
            <a:ext cx="170595" cy="17635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50">
            <a:extLst>
              <a:ext uri="{FF2B5EF4-FFF2-40B4-BE49-F238E27FC236}">
                <a16:creationId xmlns:a16="http://schemas.microsoft.com/office/drawing/2014/main" id="{9BDABEDC-BDA0-2C9F-C64B-834F574BEFB0}"/>
              </a:ext>
            </a:extLst>
          </p:cNvPr>
          <p:cNvSpPr txBox="1"/>
          <p:nvPr/>
        </p:nvSpPr>
        <p:spPr>
          <a:xfrm>
            <a:off x="8173625" y="372955"/>
            <a:ext cx="868590" cy="1077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telier planifié</a:t>
            </a:r>
            <a:endParaRPr kumimoji="0" lang="fr-FR" sz="18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49">
            <a:extLst>
              <a:ext uri="{FF2B5EF4-FFF2-40B4-BE49-F238E27FC236}">
                <a16:creationId xmlns:a16="http://schemas.microsoft.com/office/drawing/2014/main" id="{1C88ACEB-B549-A43B-E3F7-866C6A6FFB27}"/>
              </a:ext>
            </a:extLst>
          </p:cNvPr>
          <p:cNvSpPr txBox="1"/>
          <p:nvPr/>
        </p:nvSpPr>
        <p:spPr>
          <a:xfrm>
            <a:off x="719307" y="2234933"/>
            <a:ext cx="5723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pproche et Planning</a:t>
            </a:r>
          </a:p>
        </p:txBody>
      </p:sp>
      <p:sp>
        <p:nvSpPr>
          <p:cNvPr id="13" name="Isosceles Triangle 21">
            <a:extLst>
              <a:ext uri="{FF2B5EF4-FFF2-40B4-BE49-F238E27FC236}">
                <a16:creationId xmlns:a16="http://schemas.microsoft.com/office/drawing/2014/main" id="{66002F6D-7402-105F-9653-4510C4A7A239}"/>
              </a:ext>
            </a:extLst>
          </p:cNvPr>
          <p:cNvSpPr/>
          <p:nvPr/>
        </p:nvSpPr>
        <p:spPr>
          <a:xfrm>
            <a:off x="1784611" y="3095663"/>
            <a:ext cx="170595" cy="176356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49">
            <a:extLst>
              <a:ext uri="{FF2B5EF4-FFF2-40B4-BE49-F238E27FC236}">
                <a16:creationId xmlns:a16="http://schemas.microsoft.com/office/drawing/2014/main" id="{E216F493-6FED-4413-A4CB-377F92D7657D}"/>
              </a:ext>
            </a:extLst>
          </p:cNvPr>
          <p:cNvSpPr txBox="1"/>
          <p:nvPr/>
        </p:nvSpPr>
        <p:spPr>
          <a:xfrm>
            <a:off x="1559702" y="3320128"/>
            <a:ext cx="572345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vue Existant</a:t>
            </a:r>
          </a:p>
        </p:txBody>
      </p:sp>
      <p:sp>
        <p:nvSpPr>
          <p:cNvPr id="15" name="Isosceles Triangle 21">
            <a:extLst>
              <a:ext uri="{FF2B5EF4-FFF2-40B4-BE49-F238E27FC236}">
                <a16:creationId xmlns:a16="http://schemas.microsoft.com/office/drawing/2014/main" id="{286F9370-170D-2130-6820-405AC534CD13}"/>
              </a:ext>
            </a:extLst>
          </p:cNvPr>
          <p:cNvSpPr/>
          <p:nvPr/>
        </p:nvSpPr>
        <p:spPr>
          <a:xfrm>
            <a:off x="6987637" y="3143772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49">
            <a:extLst>
              <a:ext uri="{FF2B5EF4-FFF2-40B4-BE49-F238E27FC236}">
                <a16:creationId xmlns:a16="http://schemas.microsoft.com/office/drawing/2014/main" id="{1FF6CC2E-12F8-EEA2-44B0-E5702BDDCA84}"/>
              </a:ext>
            </a:extLst>
          </p:cNvPr>
          <p:cNvSpPr txBox="1"/>
          <p:nvPr/>
        </p:nvSpPr>
        <p:spPr>
          <a:xfrm>
            <a:off x="6859053" y="2765380"/>
            <a:ext cx="648426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vue </a:t>
            </a:r>
          </a:p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s</a:t>
            </a:r>
            <a:r>
              <a:rPr lang="fr-FR"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flux d’interfaces</a:t>
            </a: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" name="Isosceles Triangle 21">
            <a:extLst>
              <a:ext uri="{FF2B5EF4-FFF2-40B4-BE49-F238E27FC236}">
                <a16:creationId xmlns:a16="http://schemas.microsoft.com/office/drawing/2014/main" id="{E3BCD522-F1A4-25AC-3025-D0C32386A498}"/>
              </a:ext>
            </a:extLst>
          </p:cNvPr>
          <p:cNvSpPr/>
          <p:nvPr/>
        </p:nvSpPr>
        <p:spPr>
          <a:xfrm>
            <a:off x="2635326" y="5136577"/>
            <a:ext cx="170595" cy="176356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49">
            <a:extLst>
              <a:ext uri="{FF2B5EF4-FFF2-40B4-BE49-F238E27FC236}">
                <a16:creationId xmlns:a16="http://schemas.microsoft.com/office/drawing/2014/main" id="{76A89533-E363-23C7-FA75-C955B49CE4CF}"/>
              </a:ext>
            </a:extLst>
          </p:cNvPr>
          <p:cNvSpPr txBox="1"/>
          <p:nvPr/>
        </p:nvSpPr>
        <p:spPr>
          <a:xfrm>
            <a:off x="2410416" y="5361968"/>
            <a:ext cx="572345" cy="323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vue Existant</a:t>
            </a:r>
          </a:p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W</a:t>
            </a: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Isosceles Triangle 21">
            <a:extLst>
              <a:ext uri="{FF2B5EF4-FFF2-40B4-BE49-F238E27FC236}">
                <a16:creationId xmlns:a16="http://schemas.microsoft.com/office/drawing/2014/main" id="{4EED28FE-E274-C455-0499-72D88020C5F0}"/>
              </a:ext>
            </a:extLst>
          </p:cNvPr>
          <p:cNvSpPr/>
          <p:nvPr/>
        </p:nvSpPr>
        <p:spPr>
          <a:xfrm>
            <a:off x="3460915" y="2736584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49">
            <a:extLst>
              <a:ext uri="{FF2B5EF4-FFF2-40B4-BE49-F238E27FC236}">
                <a16:creationId xmlns:a16="http://schemas.microsoft.com/office/drawing/2014/main" id="{499567CC-0000-5A45-45CE-E1CFDD9F0972}"/>
              </a:ext>
            </a:extLst>
          </p:cNvPr>
          <p:cNvSpPr txBox="1"/>
          <p:nvPr/>
        </p:nvSpPr>
        <p:spPr>
          <a:xfrm>
            <a:off x="4819373" y="2789915"/>
            <a:ext cx="7252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800"/>
              <a:t>Fonctionnalité &amp; application MM/WM </a:t>
            </a: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" name="Isosceles Triangle 21">
            <a:extLst>
              <a:ext uri="{FF2B5EF4-FFF2-40B4-BE49-F238E27FC236}">
                <a16:creationId xmlns:a16="http://schemas.microsoft.com/office/drawing/2014/main" id="{ACC87147-4DD6-FDAB-C268-41E5B1277458}"/>
              </a:ext>
            </a:extLst>
          </p:cNvPr>
          <p:cNvSpPr/>
          <p:nvPr/>
        </p:nvSpPr>
        <p:spPr>
          <a:xfrm>
            <a:off x="5089631" y="2560801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49">
            <a:extLst>
              <a:ext uri="{FF2B5EF4-FFF2-40B4-BE49-F238E27FC236}">
                <a16:creationId xmlns:a16="http://schemas.microsoft.com/office/drawing/2014/main" id="{85CBA3BA-172E-2AF6-23D0-BD2C8661D20A}"/>
              </a:ext>
            </a:extLst>
          </p:cNvPr>
          <p:cNvSpPr txBox="1"/>
          <p:nvPr/>
        </p:nvSpPr>
        <p:spPr>
          <a:xfrm>
            <a:off x="2903075" y="2470552"/>
            <a:ext cx="7252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800"/>
              <a:t>Fonctionnalité &amp; application FI-AA/PS </a:t>
            </a: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Isosceles Triangle 21">
            <a:extLst>
              <a:ext uri="{FF2B5EF4-FFF2-40B4-BE49-F238E27FC236}">
                <a16:creationId xmlns:a16="http://schemas.microsoft.com/office/drawing/2014/main" id="{75DDEB44-BE0A-8649-4AA7-2F41E829EF3C}"/>
              </a:ext>
            </a:extLst>
          </p:cNvPr>
          <p:cNvSpPr/>
          <p:nvPr/>
        </p:nvSpPr>
        <p:spPr>
          <a:xfrm>
            <a:off x="3215473" y="3181165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Box 49">
            <a:extLst>
              <a:ext uri="{FF2B5EF4-FFF2-40B4-BE49-F238E27FC236}">
                <a16:creationId xmlns:a16="http://schemas.microsoft.com/office/drawing/2014/main" id="{D3109FC2-2C3F-948E-5E3D-662E17ADBB5A}"/>
              </a:ext>
            </a:extLst>
          </p:cNvPr>
          <p:cNvSpPr txBox="1"/>
          <p:nvPr/>
        </p:nvSpPr>
        <p:spPr>
          <a:xfrm>
            <a:off x="2900223" y="3746481"/>
            <a:ext cx="7252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800"/>
              <a:t>Fonctionnalité &amp; application FI-GL/SD/CO </a:t>
            </a: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Isosceles Triangle 21">
            <a:extLst>
              <a:ext uri="{FF2B5EF4-FFF2-40B4-BE49-F238E27FC236}">
                <a16:creationId xmlns:a16="http://schemas.microsoft.com/office/drawing/2014/main" id="{A0607A36-6B5C-6322-0F4D-77E8978FEF81}"/>
              </a:ext>
            </a:extLst>
          </p:cNvPr>
          <p:cNvSpPr/>
          <p:nvPr/>
        </p:nvSpPr>
        <p:spPr>
          <a:xfrm>
            <a:off x="6799901" y="5042577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49">
            <a:extLst>
              <a:ext uri="{FF2B5EF4-FFF2-40B4-BE49-F238E27FC236}">
                <a16:creationId xmlns:a16="http://schemas.microsoft.com/office/drawing/2014/main" id="{3DEEFEEC-4C86-087C-50EA-486E5E21388F}"/>
              </a:ext>
            </a:extLst>
          </p:cNvPr>
          <p:cNvSpPr txBox="1"/>
          <p:nvPr/>
        </p:nvSpPr>
        <p:spPr>
          <a:xfrm>
            <a:off x="6450609" y="5296232"/>
            <a:ext cx="816888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vue</a:t>
            </a:r>
            <a:r>
              <a:rPr lang="fr-FR" sz="7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des o</a:t>
            </a:r>
            <a:r>
              <a:rPr kumimoji="0" lang="fr-FR" sz="7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bjets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de données</a:t>
            </a:r>
          </a:p>
        </p:txBody>
      </p:sp>
      <p:sp>
        <p:nvSpPr>
          <p:cNvPr id="25" name="Isosceles Triangle 21">
            <a:extLst>
              <a:ext uri="{FF2B5EF4-FFF2-40B4-BE49-F238E27FC236}">
                <a16:creationId xmlns:a16="http://schemas.microsoft.com/office/drawing/2014/main" id="{BE74C052-9722-BE44-9AFF-1FFB3CE0B39D}"/>
              </a:ext>
            </a:extLst>
          </p:cNvPr>
          <p:cNvSpPr/>
          <p:nvPr/>
        </p:nvSpPr>
        <p:spPr>
          <a:xfrm>
            <a:off x="3848792" y="5110816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49">
            <a:extLst>
              <a:ext uri="{FF2B5EF4-FFF2-40B4-BE49-F238E27FC236}">
                <a16:creationId xmlns:a16="http://schemas.microsoft.com/office/drawing/2014/main" id="{B573F99C-8C87-398E-B867-CADAA491529B}"/>
              </a:ext>
            </a:extLst>
          </p:cNvPr>
          <p:cNvSpPr txBox="1"/>
          <p:nvPr/>
        </p:nvSpPr>
        <p:spPr>
          <a:xfrm>
            <a:off x="3516593" y="5296643"/>
            <a:ext cx="72520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800"/>
              <a:t>Stratégie </a:t>
            </a:r>
          </a:p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800"/>
              <a:t>de données</a:t>
            </a: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Isosceles Triangle 21">
            <a:extLst>
              <a:ext uri="{FF2B5EF4-FFF2-40B4-BE49-F238E27FC236}">
                <a16:creationId xmlns:a16="http://schemas.microsoft.com/office/drawing/2014/main" id="{A841A931-360A-FB2B-02D8-896E4F0AAE9F}"/>
              </a:ext>
            </a:extLst>
          </p:cNvPr>
          <p:cNvSpPr/>
          <p:nvPr/>
        </p:nvSpPr>
        <p:spPr>
          <a:xfrm>
            <a:off x="6760990" y="5873482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Box 49">
            <a:extLst>
              <a:ext uri="{FF2B5EF4-FFF2-40B4-BE49-F238E27FC236}">
                <a16:creationId xmlns:a16="http://schemas.microsoft.com/office/drawing/2014/main" id="{5F0EE566-07AF-2FC0-0CA8-D0A7D94F1838}"/>
              </a:ext>
            </a:extLst>
          </p:cNvPr>
          <p:cNvSpPr txBox="1"/>
          <p:nvPr/>
        </p:nvSpPr>
        <p:spPr>
          <a:xfrm>
            <a:off x="6147681" y="6068192"/>
            <a:ext cx="839956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800"/>
              <a:t>Infrastructure</a:t>
            </a: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" name="Isosceles Triangle 21">
            <a:extLst>
              <a:ext uri="{FF2B5EF4-FFF2-40B4-BE49-F238E27FC236}">
                <a16:creationId xmlns:a16="http://schemas.microsoft.com/office/drawing/2014/main" id="{E8B189C2-E5F5-D6CF-2C6B-A93F2FF1B20C}"/>
              </a:ext>
            </a:extLst>
          </p:cNvPr>
          <p:cNvSpPr/>
          <p:nvPr/>
        </p:nvSpPr>
        <p:spPr>
          <a:xfrm>
            <a:off x="5538961" y="5110816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49">
            <a:extLst>
              <a:ext uri="{FF2B5EF4-FFF2-40B4-BE49-F238E27FC236}">
                <a16:creationId xmlns:a16="http://schemas.microsoft.com/office/drawing/2014/main" id="{23B19499-C1EE-3CCD-A19D-7621D5A2708B}"/>
              </a:ext>
            </a:extLst>
          </p:cNvPr>
          <p:cNvSpPr txBox="1"/>
          <p:nvPr/>
        </p:nvSpPr>
        <p:spPr>
          <a:xfrm>
            <a:off x="5205412" y="5296643"/>
            <a:ext cx="72520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800"/>
              <a:t>Stratégie </a:t>
            </a:r>
          </a:p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800"/>
              <a:t>De </a:t>
            </a:r>
            <a:r>
              <a:rPr lang="fr-FR" sz="800" err="1"/>
              <a:t>reporting</a:t>
            </a: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" name="Isosceles Triangle 21">
            <a:extLst>
              <a:ext uri="{FF2B5EF4-FFF2-40B4-BE49-F238E27FC236}">
                <a16:creationId xmlns:a16="http://schemas.microsoft.com/office/drawing/2014/main" id="{2CA792EA-7131-A136-DA21-0A3E4FE60C0C}"/>
              </a:ext>
            </a:extLst>
          </p:cNvPr>
          <p:cNvSpPr/>
          <p:nvPr/>
        </p:nvSpPr>
        <p:spPr>
          <a:xfrm>
            <a:off x="7372268" y="5873482"/>
            <a:ext cx="170595" cy="176356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49">
            <a:extLst>
              <a:ext uri="{FF2B5EF4-FFF2-40B4-BE49-F238E27FC236}">
                <a16:creationId xmlns:a16="http://schemas.microsoft.com/office/drawing/2014/main" id="{47B9C09F-9F8A-D815-D34B-C44E30C32729}"/>
              </a:ext>
            </a:extLst>
          </p:cNvPr>
          <p:cNvSpPr txBox="1"/>
          <p:nvPr/>
        </p:nvSpPr>
        <p:spPr>
          <a:xfrm>
            <a:off x="7064556" y="6059012"/>
            <a:ext cx="725208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800"/>
              <a:t>Sécurité</a:t>
            </a: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Isosceles Triangle 21">
            <a:extLst>
              <a:ext uri="{FF2B5EF4-FFF2-40B4-BE49-F238E27FC236}">
                <a16:creationId xmlns:a16="http://schemas.microsoft.com/office/drawing/2014/main" id="{ECB61B34-44B9-02B6-D3B4-CC1D93D37C5F}"/>
              </a:ext>
            </a:extLst>
          </p:cNvPr>
          <p:cNvSpPr/>
          <p:nvPr/>
        </p:nvSpPr>
        <p:spPr>
          <a:xfrm>
            <a:off x="6989236" y="3425099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49">
            <a:extLst>
              <a:ext uri="{FF2B5EF4-FFF2-40B4-BE49-F238E27FC236}">
                <a16:creationId xmlns:a16="http://schemas.microsoft.com/office/drawing/2014/main" id="{545A3874-BB5B-5C06-6406-C8E893FA1F35}"/>
              </a:ext>
            </a:extLst>
          </p:cNvPr>
          <p:cNvSpPr txBox="1"/>
          <p:nvPr/>
        </p:nvSpPr>
        <p:spPr>
          <a:xfrm>
            <a:off x="6885491" y="3630116"/>
            <a:ext cx="678515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Revue de la cartographie applicative et fonctionnelle</a:t>
            </a:r>
          </a:p>
        </p:txBody>
      </p:sp>
      <p:sp>
        <p:nvSpPr>
          <p:cNvPr id="35" name="Isosceles Triangle 21">
            <a:extLst>
              <a:ext uri="{FF2B5EF4-FFF2-40B4-BE49-F238E27FC236}">
                <a16:creationId xmlns:a16="http://schemas.microsoft.com/office/drawing/2014/main" id="{F1CA441D-05BB-2AA2-49FF-A710038F1DCD}"/>
              </a:ext>
            </a:extLst>
          </p:cNvPr>
          <p:cNvSpPr/>
          <p:nvPr/>
        </p:nvSpPr>
        <p:spPr>
          <a:xfrm>
            <a:off x="5085153" y="4371001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Box 49">
            <a:extLst>
              <a:ext uri="{FF2B5EF4-FFF2-40B4-BE49-F238E27FC236}">
                <a16:creationId xmlns:a16="http://schemas.microsoft.com/office/drawing/2014/main" id="{62B50057-8EEE-6CBA-532D-61700032AF8E}"/>
              </a:ext>
            </a:extLst>
          </p:cNvPr>
          <p:cNvSpPr txBox="1"/>
          <p:nvPr/>
        </p:nvSpPr>
        <p:spPr>
          <a:xfrm>
            <a:off x="4754795" y="4553779"/>
            <a:ext cx="7252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800"/>
              <a:t>Stratégie </a:t>
            </a:r>
          </a:p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800"/>
              <a:t>&amp; plateforme d’intégration</a:t>
            </a: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Isosceles Triangle 21">
            <a:extLst>
              <a:ext uri="{FF2B5EF4-FFF2-40B4-BE49-F238E27FC236}">
                <a16:creationId xmlns:a16="http://schemas.microsoft.com/office/drawing/2014/main" id="{108C7F71-1425-9C62-728A-31545AD2AB7D}"/>
              </a:ext>
            </a:extLst>
          </p:cNvPr>
          <p:cNvSpPr/>
          <p:nvPr/>
        </p:nvSpPr>
        <p:spPr>
          <a:xfrm>
            <a:off x="5085152" y="4259041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49">
            <a:extLst>
              <a:ext uri="{FF2B5EF4-FFF2-40B4-BE49-F238E27FC236}">
                <a16:creationId xmlns:a16="http://schemas.microsoft.com/office/drawing/2014/main" id="{B4AC74C3-C465-9672-EFFB-90A81929C4F3}"/>
              </a:ext>
            </a:extLst>
          </p:cNvPr>
          <p:cNvSpPr txBox="1"/>
          <p:nvPr/>
        </p:nvSpPr>
        <p:spPr>
          <a:xfrm>
            <a:off x="4754795" y="3988686"/>
            <a:ext cx="72520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800"/>
              <a:t>Pattern d’intégration</a:t>
            </a:r>
            <a:endParaRPr kumimoji="0" lang="fr-F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0" name="Isosceles Triangle 21">
            <a:extLst>
              <a:ext uri="{FF2B5EF4-FFF2-40B4-BE49-F238E27FC236}">
                <a16:creationId xmlns:a16="http://schemas.microsoft.com/office/drawing/2014/main" id="{0328E945-C39A-4CDC-F5D4-7242506F064B}"/>
              </a:ext>
            </a:extLst>
          </p:cNvPr>
          <p:cNvSpPr/>
          <p:nvPr/>
        </p:nvSpPr>
        <p:spPr>
          <a:xfrm>
            <a:off x="8231165" y="1666212"/>
            <a:ext cx="170595" cy="176356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Box 49">
            <a:extLst>
              <a:ext uri="{FF2B5EF4-FFF2-40B4-BE49-F238E27FC236}">
                <a16:creationId xmlns:a16="http://schemas.microsoft.com/office/drawing/2014/main" id="{045AD258-CD1D-A51C-B7FD-5861EA5A98E5}"/>
              </a:ext>
            </a:extLst>
          </p:cNvPr>
          <p:cNvSpPr txBox="1"/>
          <p:nvPr/>
        </p:nvSpPr>
        <p:spPr>
          <a:xfrm>
            <a:off x="7932868" y="1871229"/>
            <a:ext cx="648426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ossier d’architecture</a:t>
            </a:r>
          </a:p>
        </p:txBody>
      </p:sp>
      <p:sp>
        <p:nvSpPr>
          <p:cNvPr id="42" name="Isosceles Triangle 21">
            <a:extLst>
              <a:ext uri="{FF2B5EF4-FFF2-40B4-BE49-F238E27FC236}">
                <a16:creationId xmlns:a16="http://schemas.microsoft.com/office/drawing/2014/main" id="{6DB4F910-7C54-E9C2-63FD-5D3E2DB707F2}"/>
              </a:ext>
            </a:extLst>
          </p:cNvPr>
          <p:cNvSpPr/>
          <p:nvPr/>
        </p:nvSpPr>
        <p:spPr>
          <a:xfrm>
            <a:off x="8231165" y="2110994"/>
            <a:ext cx="170595" cy="176356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extBox 49">
            <a:extLst>
              <a:ext uri="{FF2B5EF4-FFF2-40B4-BE49-F238E27FC236}">
                <a16:creationId xmlns:a16="http://schemas.microsoft.com/office/drawing/2014/main" id="{8C680DD8-9AE1-7583-0E37-57132F14B8A3}"/>
              </a:ext>
            </a:extLst>
          </p:cNvPr>
          <p:cNvSpPr txBox="1"/>
          <p:nvPr/>
        </p:nvSpPr>
        <p:spPr>
          <a:xfrm>
            <a:off x="7955801" y="2321396"/>
            <a:ext cx="648426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Tx/>
              <a:buNone/>
              <a:tabLst/>
              <a:defRPr/>
            </a:pPr>
            <a:r>
              <a:rPr lang="fr-FR" sz="800">
                <a:solidFill>
                  <a:schemeClr val="tx1"/>
                </a:solidFill>
                <a:cs typeface="Arial" panose="020B0604020202020204" pitchFamily="34" charset="0"/>
              </a:rPr>
              <a:t>Scénarii</a:t>
            </a:r>
            <a:r>
              <a:rPr kumimoji="0" lang="fr-FR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S4</a:t>
            </a:r>
          </a:p>
        </p:txBody>
      </p:sp>
      <p:sp>
        <p:nvSpPr>
          <p:cNvPr id="44" name="TextBox 50">
            <a:extLst>
              <a:ext uri="{FF2B5EF4-FFF2-40B4-BE49-F238E27FC236}">
                <a16:creationId xmlns:a16="http://schemas.microsoft.com/office/drawing/2014/main" id="{26CE72E2-8F08-C1BE-D57A-DC400D6AE7E3}"/>
              </a:ext>
            </a:extLst>
          </p:cNvPr>
          <p:cNvSpPr txBox="1"/>
          <p:nvPr/>
        </p:nvSpPr>
        <p:spPr>
          <a:xfrm>
            <a:off x="7208538" y="366874"/>
            <a:ext cx="569232" cy="1077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Livrables</a:t>
            </a:r>
            <a:endParaRPr kumimoji="0" lang="fr-FR" sz="18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Isosceles Triangle 21">
            <a:extLst>
              <a:ext uri="{FF2B5EF4-FFF2-40B4-BE49-F238E27FC236}">
                <a16:creationId xmlns:a16="http://schemas.microsoft.com/office/drawing/2014/main" id="{4948EE4C-26CE-045E-B965-DE9A44DC7EFC}"/>
              </a:ext>
            </a:extLst>
          </p:cNvPr>
          <p:cNvSpPr/>
          <p:nvPr/>
        </p:nvSpPr>
        <p:spPr>
          <a:xfrm>
            <a:off x="7039683" y="315575"/>
            <a:ext cx="170595" cy="176356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TextBox 35">
            <a:extLst>
              <a:ext uri="{FF2B5EF4-FFF2-40B4-BE49-F238E27FC236}">
                <a16:creationId xmlns:a16="http://schemas.microsoft.com/office/drawing/2014/main" id="{D3C8AF71-D368-3D37-4851-F337708B94EC}"/>
              </a:ext>
            </a:extLst>
          </p:cNvPr>
          <p:cNvSpPr txBox="1"/>
          <p:nvPr/>
        </p:nvSpPr>
        <p:spPr>
          <a:xfrm rot="16200000">
            <a:off x="-139825" y="2700170"/>
            <a:ext cx="800354" cy="343343"/>
          </a:xfrm>
          <a:prstGeom prst="rect">
            <a:avLst/>
          </a:prstGeom>
          <a:solidFill>
            <a:schemeClr val="accent2"/>
          </a:solidFill>
        </p:spPr>
        <p:txBody>
          <a:bodyPr wrap="non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nctionnelle</a:t>
            </a:r>
          </a:p>
        </p:txBody>
      </p:sp>
      <p:sp>
        <p:nvSpPr>
          <p:cNvPr id="48" name="TextBox 35">
            <a:extLst>
              <a:ext uri="{FF2B5EF4-FFF2-40B4-BE49-F238E27FC236}">
                <a16:creationId xmlns:a16="http://schemas.microsoft.com/office/drawing/2014/main" id="{E91EB786-F9DF-B1FC-C2B5-BDD0FCF4905D}"/>
              </a:ext>
            </a:extLst>
          </p:cNvPr>
          <p:cNvSpPr txBox="1"/>
          <p:nvPr/>
        </p:nvSpPr>
        <p:spPr>
          <a:xfrm rot="16200000">
            <a:off x="-139825" y="1886865"/>
            <a:ext cx="800354" cy="343342"/>
          </a:xfrm>
          <a:prstGeom prst="rect">
            <a:avLst/>
          </a:prstGeom>
          <a:solidFill>
            <a:srgbClr val="0053A1"/>
          </a:solidFill>
        </p:spPr>
        <p:txBody>
          <a:bodyPr wrap="none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lobal</a:t>
            </a:r>
          </a:p>
        </p:txBody>
      </p:sp>
      <p:sp>
        <p:nvSpPr>
          <p:cNvPr id="56" name="Isosceles Triangle 21">
            <a:extLst>
              <a:ext uri="{FF2B5EF4-FFF2-40B4-BE49-F238E27FC236}">
                <a16:creationId xmlns:a16="http://schemas.microsoft.com/office/drawing/2014/main" id="{DEE5F175-17C1-8D87-7880-F37C6E1ACB1A}"/>
              </a:ext>
            </a:extLst>
          </p:cNvPr>
          <p:cNvSpPr/>
          <p:nvPr/>
        </p:nvSpPr>
        <p:spPr>
          <a:xfrm>
            <a:off x="3877204" y="2890667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49">
            <a:extLst>
              <a:ext uri="{FF2B5EF4-FFF2-40B4-BE49-F238E27FC236}">
                <a16:creationId xmlns:a16="http://schemas.microsoft.com/office/drawing/2014/main" id="{CB968C64-EBE4-AADC-8364-7ECCE1E28C01}"/>
              </a:ext>
            </a:extLst>
          </p:cNvPr>
          <p:cNvSpPr txBox="1"/>
          <p:nvPr/>
        </p:nvSpPr>
        <p:spPr>
          <a:xfrm>
            <a:off x="3524279" y="3095147"/>
            <a:ext cx="86477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algn="ctr" defTabSz="914400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fr-FR" sz="800" kern="1200"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Archi SAP: Applications projet &amp; transverses</a:t>
            </a:r>
          </a:p>
        </p:txBody>
      </p:sp>
      <p:sp>
        <p:nvSpPr>
          <p:cNvPr id="23" name="Isosceles Triangle 21">
            <a:extLst>
              <a:ext uri="{FF2B5EF4-FFF2-40B4-BE49-F238E27FC236}">
                <a16:creationId xmlns:a16="http://schemas.microsoft.com/office/drawing/2014/main" id="{5ACEF58D-D847-90AD-893D-B078F397BF5C}"/>
              </a:ext>
            </a:extLst>
          </p:cNvPr>
          <p:cNvSpPr/>
          <p:nvPr/>
        </p:nvSpPr>
        <p:spPr>
          <a:xfrm>
            <a:off x="3462473" y="3533304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49">
            <a:extLst>
              <a:ext uri="{FF2B5EF4-FFF2-40B4-BE49-F238E27FC236}">
                <a16:creationId xmlns:a16="http://schemas.microsoft.com/office/drawing/2014/main" id="{E4CBB68D-D613-845B-0EC1-E191A559C51C}"/>
              </a:ext>
            </a:extLst>
          </p:cNvPr>
          <p:cNvSpPr txBox="1"/>
          <p:nvPr/>
        </p:nvSpPr>
        <p:spPr>
          <a:xfrm>
            <a:off x="2484323" y="3170140"/>
            <a:ext cx="7252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algn="ctr">
              <a:buClr>
                <a:srgbClr val="000000"/>
              </a:buClr>
              <a:buSzPts val="1100"/>
              <a:defRPr/>
            </a:pPr>
            <a:r>
              <a:rPr lang="fr-FR" sz="800"/>
              <a:t>Fonctionnalité &amp; application RH </a:t>
            </a:r>
            <a:endParaRPr lang="fr-FR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</a:endParaRPr>
          </a:p>
        </p:txBody>
      </p:sp>
      <p:sp>
        <p:nvSpPr>
          <p:cNvPr id="10" name="TextBox 49">
            <a:extLst>
              <a:ext uri="{FF2B5EF4-FFF2-40B4-BE49-F238E27FC236}">
                <a16:creationId xmlns:a16="http://schemas.microsoft.com/office/drawing/2014/main" id="{10048710-9EA1-C83F-7AC7-423148CFED19}"/>
              </a:ext>
            </a:extLst>
          </p:cNvPr>
          <p:cNvSpPr txBox="1"/>
          <p:nvPr/>
        </p:nvSpPr>
        <p:spPr>
          <a:xfrm>
            <a:off x="6220155" y="2867735"/>
            <a:ext cx="7252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algn="ctr">
              <a:defRPr/>
            </a:pPr>
            <a:r>
              <a:rPr lang="fr-FR" sz="800">
                <a:ea typeface="+mn-lt"/>
                <a:cs typeface="+mn-lt"/>
              </a:rPr>
              <a:t>Fonctionnalité &amp; Architecture cible</a:t>
            </a:r>
          </a:p>
        </p:txBody>
      </p:sp>
      <p:sp>
        <p:nvSpPr>
          <p:cNvPr id="50" name="Isosceles Triangle 21">
            <a:extLst>
              <a:ext uri="{FF2B5EF4-FFF2-40B4-BE49-F238E27FC236}">
                <a16:creationId xmlns:a16="http://schemas.microsoft.com/office/drawing/2014/main" id="{B7BC0DA5-C937-5CDD-85C8-6F1417788703}"/>
              </a:ext>
            </a:extLst>
          </p:cNvPr>
          <p:cNvSpPr/>
          <p:nvPr/>
        </p:nvSpPr>
        <p:spPr>
          <a:xfrm>
            <a:off x="6558507" y="2619166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Isosceles Triangle 21">
            <a:extLst>
              <a:ext uri="{FF2B5EF4-FFF2-40B4-BE49-F238E27FC236}">
                <a16:creationId xmlns:a16="http://schemas.microsoft.com/office/drawing/2014/main" id="{46614C72-1D90-EEB1-B7C4-F92FE0871E50}"/>
              </a:ext>
            </a:extLst>
          </p:cNvPr>
          <p:cNvSpPr/>
          <p:nvPr/>
        </p:nvSpPr>
        <p:spPr>
          <a:xfrm>
            <a:off x="5761316" y="1710307"/>
            <a:ext cx="170595" cy="176356"/>
          </a:xfrm>
          <a:prstGeom prst="triangle">
            <a:avLst/>
          </a:prstGeom>
          <a:solidFill>
            <a:srgbClr val="FF99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8" name="TextBox 49">
            <a:extLst>
              <a:ext uri="{FF2B5EF4-FFF2-40B4-BE49-F238E27FC236}">
                <a16:creationId xmlns:a16="http://schemas.microsoft.com/office/drawing/2014/main" id="{0010DF34-5585-A370-94FE-C55BC23D3EA6}"/>
              </a:ext>
            </a:extLst>
          </p:cNvPr>
          <p:cNvSpPr txBox="1"/>
          <p:nvPr/>
        </p:nvSpPr>
        <p:spPr>
          <a:xfrm>
            <a:off x="5117399" y="1714255"/>
            <a:ext cx="72520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algn="ctr">
              <a:defRPr/>
            </a:pPr>
            <a:r>
              <a:rPr lang="fr-FR" sz="800"/>
              <a:t>Atelier SAP</a:t>
            </a:r>
          </a:p>
          <a:p>
            <a:pPr marL="110490" algn="ctr">
              <a:defRPr/>
            </a:pPr>
            <a:r>
              <a:rPr lang="fr-FR" sz="800"/>
              <a:t>BTP</a:t>
            </a:r>
          </a:p>
        </p:txBody>
      </p:sp>
      <p:sp>
        <p:nvSpPr>
          <p:cNvPr id="59" name="Isosceles Triangle 21">
            <a:extLst>
              <a:ext uri="{FF2B5EF4-FFF2-40B4-BE49-F238E27FC236}">
                <a16:creationId xmlns:a16="http://schemas.microsoft.com/office/drawing/2014/main" id="{6BB2840D-B0E0-6C84-7AD2-065DD9B5D874}"/>
              </a:ext>
            </a:extLst>
          </p:cNvPr>
          <p:cNvSpPr/>
          <p:nvPr/>
        </p:nvSpPr>
        <p:spPr>
          <a:xfrm>
            <a:off x="3216780" y="1744325"/>
            <a:ext cx="170595" cy="176356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TextBox 49">
            <a:extLst>
              <a:ext uri="{FF2B5EF4-FFF2-40B4-BE49-F238E27FC236}">
                <a16:creationId xmlns:a16="http://schemas.microsoft.com/office/drawing/2014/main" id="{37FB8D60-8602-C956-5E6A-830B8A6C6208}"/>
              </a:ext>
            </a:extLst>
          </p:cNvPr>
          <p:cNvSpPr txBox="1"/>
          <p:nvPr/>
        </p:nvSpPr>
        <p:spPr>
          <a:xfrm>
            <a:off x="2945092" y="1956090"/>
            <a:ext cx="72520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algn="ctr">
              <a:defRPr/>
            </a:pPr>
            <a:r>
              <a:rPr lang="fr-FR" sz="800"/>
              <a:t>Atelier SAP</a:t>
            </a:r>
            <a:endParaRPr lang="fr-FR"/>
          </a:p>
          <a:p>
            <a:pPr marL="110490" algn="ctr">
              <a:defRPr/>
            </a:pPr>
            <a:r>
              <a:rPr lang="fr-FR" sz="800"/>
              <a:t>Stratégie de migration</a:t>
            </a:r>
          </a:p>
        </p:txBody>
      </p:sp>
      <p:sp>
        <p:nvSpPr>
          <p:cNvPr id="61" name="Isosceles Triangle 21">
            <a:extLst>
              <a:ext uri="{FF2B5EF4-FFF2-40B4-BE49-F238E27FC236}">
                <a16:creationId xmlns:a16="http://schemas.microsoft.com/office/drawing/2014/main" id="{CCDD58C8-3244-AFB1-78E1-91730DA6A204}"/>
              </a:ext>
            </a:extLst>
          </p:cNvPr>
          <p:cNvSpPr/>
          <p:nvPr/>
        </p:nvSpPr>
        <p:spPr>
          <a:xfrm>
            <a:off x="533598" y="1760905"/>
            <a:ext cx="170595" cy="176356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TextBox 49">
            <a:extLst>
              <a:ext uri="{FF2B5EF4-FFF2-40B4-BE49-F238E27FC236}">
                <a16:creationId xmlns:a16="http://schemas.microsoft.com/office/drawing/2014/main" id="{7482281E-64EE-4179-615C-6AFD1F9E41EE}"/>
              </a:ext>
            </a:extLst>
          </p:cNvPr>
          <p:cNvSpPr txBox="1"/>
          <p:nvPr/>
        </p:nvSpPr>
        <p:spPr>
          <a:xfrm>
            <a:off x="480235" y="1692834"/>
            <a:ext cx="725208" cy="12311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 algn="ctr">
              <a:defRPr/>
            </a:pPr>
            <a:r>
              <a:rPr lang="fr-FR" sz="800"/>
              <a:t>Atelier SAP</a:t>
            </a:r>
            <a:endParaRPr lang="fr-FR"/>
          </a:p>
        </p:txBody>
      </p:sp>
      <p:sp>
        <p:nvSpPr>
          <p:cNvPr id="64" name="Isosceles Triangle 21">
            <a:extLst>
              <a:ext uri="{FF2B5EF4-FFF2-40B4-BE49-F238E27FC236}">
                <a16:creationId xmlns:a16="http://schemas.microsoft.com/office/drawing/2014/main" id="{3AC9153C-885A-D73D-3A95-CF07F96FE092}"/>
              </a:ext>
            </a:extLst>
          </p:cNvPr>
          <p:cNvSpPr/>
          <p:nvPr/>
        </p:nvSpPr>
        <p:spPr>
          <a:xfrm>
            <a:off x="8006178" y="45050"/>
            <a:ext cx="170595" cy="176356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TextBox 50">
            <a:extLst>
              <a:ext uri="{FF2B5EF4-FFF2-40B4-BE49-F238E27FC236}">
                <a16:creationId xmlns:a16="http://schemas.microsoft.com/office/drawing/2014/main" id="{057B506F-D340-2EAE-3735-13EFFAFF8EA0}"/>
              </a:ext>
            </a:extLst>
          </p:cNvPr>
          <p:cNvSpPr txBox="1"/>
          <p:nvPr/>
        </p:nvSpPr>
        <p:spPr>
          <a:xfrm>
            <a:off x="8173624" y="107614"/>
            <a:ext cx="814161" cy="10772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10490">
              <a:defRPr/>
            </a:pPr>
            <a:r>
              <a:rPr kumimoji="0" lang="fr-FR" sz="7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telier </a:t>
            </a:r>
            <a:r>
              <a:rPr lang="fr-FR" sz="70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compli</a:t>
            </a:r>
            <a:endParaRPr kumimoji="0" lang="fr-FR" sz="18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6" name="Connecteur droit 45">
            <a:extLst>
              <a:ext uri="{FF2B5EF4-FFF2-40B4-BE49-F238E27FC236}">
                <a16:creationId xmlns:a16="http://schemas.microsoft.com/office/drawing/2014/main" id="{BC0CB025-5630-9FBC-7349-5A312990FCA2}"/>
              </a:ext>
            </a:extLst>
          </p:cNvPr>
          <p:cNvCxnSpPr>
            <a:cxnSpLocks/>
          </p:cNvCxnSpPr>
          <p:nvPr/>
        </p:nvCxnSpPr>
        <p:spPr>
          <a:xfrm>
            <a:off x="3548132" y="1586753"/>
            <a:ext cx="0" cy="51188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4F96279B-494C-A35E-FAB9-E7C42A91CC91}"/>
              </a:ext>
            </a:extLst>
          </p:cNvPr>
          <p:cNvSpPr/>
          <p:nvPr/>
        </p:nvSpPr>
        <p:spPr>
          <a:xfrm>
            <a:off x="533598" y="1692834"/>
            <a:ext cx="2990680" cy="4775979"/>
          </a:xfrm>
          <a:prstGeom prst="rect">
            <a:avLst/>
          </a:prstGeom>
          <a:solidFill>
            <a:schemeClr val="accent6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4A106625-1731-522B-89C2-0E3141922A15}"/>
              </a:ext>
            </a:extLst>
          </p:cNvPr>
          <p:cNvSpPr/>
          <p:nvPr/>
        </p:nvSpPr>
        <p:spPr>
          <a:xfrm>
            <a:off x="5064818" y="277784"/>
            <a:ext cx="1555578" cy="415194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/>
              <a:t>MÀJ Fréquente</a:t>
            </a:r>
          </a:p>
        </p:txBody>
      </p:sp>
    </p:spTree>
    <p:extLst>
      <p:ext uri="{BB962C8B-B14F-4D97-AF65-F5344CB8AC3E}">
        <p14:creationId xmlns:p14="http://schemas.microsoft.com/office/powerpoint/2010/main" val="3311838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95B8219-1A3D-8E27-5B27-8E7241D6F1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727D703-01AD-4B48-9E69-5E906C8C77D4}" type="slidenum">
              <a:rPr lang="en-US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pPr algn="l"/>
              <a:t>13</a:t>
            </a:fld>
            <a:endParaRPr lang="en-U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21524DF2-F7EF-743F-33AB-6DE2750D840E}"/>
              </a:ext>
            </a:extLst>
          </p:cNvPr>
          <p:cNvSpPr txBox="1"/>
          <p:nvPr/>
        </p:nvSpPr>
        <p:spPr>
          <a:xfrm>
            <a:off x="-11163" y="893793"/>
            <a:ext cx="9310816" cy="3947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685800" eaLnBrk="1" fontAlgn="auto" latinLnBrk="0" hangingPunct="1">
              <a:lnSpc>
                <a:spcPts val="225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1" i="0" u="none" strike="noStrike" kern="0" cap="none" spc="0" normalizeH="0" baseline="0" noProof="0">
                <a:ln>
                  <a:noFill/>
                </a:ln>
                <a:solidFill>
                  <a:srgbClr val="70B856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Le modèle opérationnel portera en priorité sur les processus suivants :  </a:t>
            </a:r>
          </a:p>
        </p:txBody>
      </p:sp>
      <p:cxnSp>
        <p:nvCxnSpPr>
          <p:cNvPr id="56" name="Connecteur droit 55">
            <a:extLst>
              <a:ext uri="{FF2B5EF4-FFF2-40B4-BE49-F238E27FC236}">
                <a16:creationId xmlns:a16="http://schemas.microsoft.com/office/drawing/2014/main" id="{567C793F-470B-5D66-9D63-5579BE370D9C}"/>
              </a:ext>
            </a:extLst>
          </p:cNvPr>
          <p:cNvCxnSpPr>
            <a:cxnSpLocks/>
          </p:cNvCxnSpPr>
          <p:nvPr/>
        </p:nvCxnSpPr>
        <p:spPr>
          <a:xfrm>
            <a:off x="6470703" y="1946375"/>
            <a:ext cx="0" cy="3557269"/>
          </a:xfrm>
          <a:prstGeom prst="line">
            <a:avLst/>
          </a:prstGeom>
          <a:noFill/>
          <a:ln w="57150" cap="flat" cmpd="sng" algn="ctr">
            <a:solidFill>
              <a:srgbClr val="000000"/>
            </a:solidFill>
            <a:prstDash val="dash"/>
            <a:miter lim="800000"/>
          </a:ln>
          <a:effectLst/>
        </p:spPr>
      </p:cxnSp>
      <p:grpSp>
        <p:nvGrpSpPr>
          <p:cNvPr id="57" name="Groupe 56">
            <a:extLst>
              <a:ext uri="{FF2B5EF4-FFF2-40B4-BE49-F238E27FC236}">
                <a16:creationId xmlns:a16="http://schemas.microsoft.com/office/drawing/2014/main" id="{8986659C-05AF-87F9-B119-4B22E6420011}"/>
              </a:ext>
            </a:extLst>
          </p:cNvPr>
          <p:cNvGrpSpPr/>
          <p:nvPr/>
        </p:nvGrpSpPr>
        <p:grpSpPr>
          <a:xfrm>
            <a:off x="181284" y="1964436"/>
            <a:ext cx="6148128" cy="3539207"/>
            <a:chOff x="670135" y="1395403"/>
            <a:chExt cx="7842410" cy="4681795"/>
          </a:xfrm>
        </p:grpSpPr>
        <p:sp>
          <p:nvSpPr>
            <p:cNvPr id="58" name="ZoneTexte 57">
              <a:extLst>
                <a:ext uri="{FF2B5EF4-FFF2-40B4-BE49-F238E27FC236}">
                  <a16:creationId xmlns:a16="http://schemas.microsoft.com/office/drawing/2014/main" id="{6D2055F2-58D3-ABAA-FB61-CDEB5B73856C}"/>
                </a:ext>
              </a:extLst>
            </p:cNvPr>
            <p:cNvSpPr txBox="1"/>
            <p:nvPr/>
          </p:nvSpPr>
          <p:spPr>
            <a:xfrm>
              <a:off x="1101449" y="2088634"/>
              <a:ext cx="7398540" cy="305353"/>
            </a:xfrm>
            <a:prstGeom prst="rect">
              <a:avLst/>
            </a:prstGeom>
            <a:solidFill>
              <a:srgbClr val="1B92BA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accorder les clients ou modifier leur raccordement - RACCO*</a:t>
              </a:r>
            </a:p>
          </p:txBody>
        </p:sp>
        <p:sp>
          <p:nvSpPr>
            <p:cNvPr id="59" name="ZoneTexte 58">
              <a:extLst>
                <a:ext uri="{FF2B5EF4-FFF2-40B4-BE49-F238E27FC236}">
                  <a16:creationId xmlns:a16="http://schemas.microsoft.com/office/drawing/2014/main" id="{5B482F7A-512D-42E5-24B5-37504F152C6A}"/>
                </a:ext>
              </a:extLst>
            </p:cNvPr>
            <p:cNvSpPr txBox="1"/>
            <p:nvPr/>
          </p:nvSpPr>
          <p:spPr>
            <a:xfrm>
              <a:off x="1101854" y="2990383"/>
              <a:ext cx="7410691" cy="305353"/>
            </a:xfrm>
            <a:prstGeom prst="rect">
              <a:avLst/>
            </a:prstGeom>
            <a:solidFill>
              <a:srgbClr val="F9B200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ssurer la performance du réseau et la sécurité des tiers - PREST</a:t>
              </a:r>
            </a:p>
          </p:txBody>
        </p:sp>
        <p:sp>
          <p:nvSpPr>
            <p:cNvPr id="60" name="ZoneTexte 59">
              <a:extLst>
                <a:ext uri="{FF2B5EF4-FFF2-40B4-BE49-F238E27FC236}">
                  <a16:creationId xmlns:a16="http://schemas.microsoft.com/office/drawing/2014/main" id="{F9F3D095-9127-DF51-1D81-4FD8D3CD110F}"/>
                </a:ext>
              </a:extLst>
            </p:cNvPr>
            <p:cNvSpPr txBox="1"/>
            <p:nvPr/>
          </p:nvSpPr>
          <p:spPr>
            <a:xfrm>
              <a:off x="1099724" y="3697760"/>
              <a:ext cx="7400274" cy="305353"/>
            </a:xfrm>
            <a:prstGeom prst="rect">
              <a:avLst/>
            </a:prstGeom>
            <a:solidFill>
              <a:srgbClr val="E7E6E6">
                <a:lumMod val="50000"/>
              </a:srgbClr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érer les relations clients au quotidien - CLIQO* </a:t>
              </a:r>
            </a:p>
          </p:txBody>
        </p:sp>
        <p:grpSp>
          <p:nvGrpSpPr>
            <p:cNvPr id="61" name="Groupe 60">
              <a:extLst>
                <a:ext uri="{FF2B5EF4-FFF2-40B4-BE49-F238E27FC236}">
                  <a16:creationId xmlns:a16="http://schemas.microsoft.com/office/drawing/2014/main" id="{59A952FC-34DF-5497-C3CC-444DAA39D4CF}"/>
                </a:ext>
              </a:extLst>
            </p:cNvPr>
            <p:cNvGrpSpPr/>
            <p:nvPr/>
          </p:nvGrpSpPr>
          <p:grpSpPr>
            <a:xfrm>
              <a:off x="1105127" y="1710906"/>
              <a:ext cx="7394860" cy="259551"/>
              <a:chOff x="1104126" y="1710906"/>
              <a:chExt cx="6858350" cy="259551"/>
            </a:xfrm>
          </p:grpSpPr>
          <p:sp>
            <p:nvSpPr>
              <p:cNvPr id="88" name="ZoneTexte 87">
                <a:extLst>
                  <a:ext uri="{FF2B5EF4-FFF2-40B4-BE49-F238E27FC236}">
                    <a16:creationId xmlns:a16="http://schemas.microsoft.com/office/drawing/2014/main" id="{9F952BC0-3F93-A2C2-7B36-C106509C20E3}"/>
                  </a:ext>
                </a:extLst>
              </p:cNvPr>
              <p:cNvSpPr txBox="1"/>
              <p:nvPr/>
            </p:nvSpPr>
            <p:spPr>
              <a:xfrm>
                <a:off x="1104126" y="1710906"/>
                <a:ext cx="3396240" cy="259551"/>
              </a:xfrm>
              <a:prstGeom prst="rect">
                <a:avLst/>
              </a:prstGeom>
              <a:solidFill>
                <a:srgbClr val="70B856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onquête</a:t>
                </a:r>
              </a:p>
            </p:txBody>
          </p:sp>
          <p:sp>
            <p:nvSpPr>
              <p:cNvPr id="89" name="ZoneTexte 88">
                <a:extLst>
                  <a:ext uri="{FF2B5EF4-FFF2-40B4-BE49-F238E27FC236}">
                    <a16:creationId xmlns:a16="http://schemas.microsoft.com/office/drawing/2014/main" id="{F3A09475-3248-08F2-E32F-3BB342DDAE6E}"/>
                  </a:ext>
                </a:extLst>
              </p:cNvPr>
              <p:cNvSpPr txBox="1"/>
              <p:nvPr/>
            </p:nvSpPr>
            <p:spPr>
              <a:xfrm>
                <a:off x="4566229" y="1710906"/>
                <a:ext cx="3396247" cy="259551"/>
              </a:xfrm>
              <a:prstGeom prst="rect">
                <a:avLst/>
              </a:prstGeom>
              <a:solidFill>
                <a:srgbClr val="70B856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Fidélisation</a:t>
                </a:r>
              </a:p>
            </p:txBody>
          </p:sp>
        </p:grpSp>
        <p:sp>
          <p:nvSpPr>
            <p:cNvPr id="62" name="ZoneTexte 61">
              <a:extLst>
                <a:ext uri="{FF2B5EF4-FFF2-40B4-BE49-F238E27FC236}">
                  <a16:creationId xmlns:a16="http://schemas.microsoft.com/office/drawing/2014/main" id="{2BCBDBE2-A9EE-8A11-68D3-03FDE12DC57E}"/>
                </a:ext>
              </a:extLst>
            </p:cNvPr>
            <p:cNvSpPr txBox="1"/>
            <p:nvPr/>
          </p:nvSpPr>
          <p:spPr>
            <a:xfrm>
              <a:off x="1109199" y="1403328"/>
              <a:ext cx="7398539" cy="305353"/>
            </a:xfrm>
            <a:prstGeom prst="rect">
              <a:avLst/>
            </a:prstGeom>
            <a:solidFill>
              <a:srgbClr val="70B856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nquérir de nouveaux clients et fidéliser nos clients à l’usage du gaz - COFI  </a:t>
              </a:r>
            </a:p>
          </p:txBody>
        </p:sp>
        <p:sp>
          <p:nvSpPr>
            <p:cNvPr id="63" name="ZoneTexte 62">
              <a:extLst>
                <a:ext uri="{FF2B5EF4-FFF2-40B4-BE49-F238E27FC236}">
                  <a16:creationId xmlns:a16="http://schemas.microsoft.com/office/drawing/2014/main" id="{52100995-25E8-7661-505D-71B1B089E892}"/>
                </a:ext>
              </a:extLst>
            </p:cNvPr>
            <p:cNvSpPr txBox="1"/>
            <p:nvPr/>
          </p:nvSpPr>
          <p:spPr>
            <a:xfrm>
              <a:off x="1099724" y="4981750"/>
              <a:ext cx="7408956" cy="305353"/>
            </a:xfrm>
            <a:prstGeom prst="rect">
              <a:avLst/>
            </a:prstGeom>
            <a:solidFill>
              <a:srgbClr val="70B856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ccompagner nos concédants et les collectivités territoriales - ACCT</a:t>
              </a:r>
            </a:p>
          </p:txBody>
        </p:sp>
        <p:sp>
          <p:nvSpPr>
            <p:cNvPr id="64" name="ZoneTexte 63">
              <a:extLst>
                <a:ext uri="{FF2B5EF4-FFF2-40B4-BE49-F238E27FC236}">
                  <a16:creationId xmlns:a16="http://schemas.microsoft.com/office/drawing/2014/main" id="{17F02236-1046-A4C9-0F76-F46DAAB47E89}"/>
                </a:ext>
              </a:extLst>
            </p:cNvPr>
            <p:cNvSpPr txBox="1"/>
            <p:nvPr/>
          </p:nvSpPr>
          <p:spPr>
            <a:xfrm rot="16200000">
              <a:off x="-1523541" y="3589079"/>
              <a:ext cx="4681795" cy="294444"/>
            </a:xfrm>
            <a:prstGeom prst="rect">
              <a:avLst/>
            </a:prstGeom>
            <a:solidFill>
              <a:srgbClr val="000000"/>
            </a:solidFill>
            <a:ln w="28575">
              <a:solidFill>
                <a:srgbClr val="00000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ilotage &amp; Management</a:t>
              </a:r>
            </a:p>
          </p:txBody>
        </p:sp>
        <p:grpSp>
          <p:nvGrpSpPr>
            <p:cNvPr id="65" name="Groupe 64">
              <a:extLst>
                <a:ext uri="{FF2B5EF4-FFF2-40B4-BE49-F238E27FC236}">
                  <a16:creationId xmlns:a16="http://schemas.microsoft.com/office/drawing/2014/main" id="{C1AB2845-6CF4-D9DC-E9F1-9BCE26E990FC}"/>
                </a:ext>
              </a:extLst>
            </p:cNvPr>
            <p:cNvGrpSpPr/>
            <p:nvPr/>
          </p:nvGrpSpPr>
          <p:grpSpPr>
            <a:xfrm>
              <a:off x="1103689" y="3332653"/>
              <a:ext cx="7395237" cy="261723"/>
              <a:chOff x="1093353" y="3464583"/>
              <a:chExt cx="6871743" cy="250037"/>
            </a:xfrm>
          </p:grpSpPr>
          <p:sp>
            <p:nvSpPr>
              <p:cNvPr id="84" name="ZoneTexte 83">
                <a:extLst>
                  <a:ext uri="{FF2B5EF4-FFF2-40B4-BE49-F238E27FC236}">
                    <a16:creationId xmlns:a16="http://schemas.microsoft.com/office/drawing/2014/main" id="{77AC27A5-D7C2-8FB4-9D1C-56BD30A459BD}"/>
                  </a:ext>
                </a:extLst>
              </p:cNvPr>
              <p:cNvSpPr txBox="1"/>
              <p:nvPr/>
            </p:nvSpPr>
            <p:spPr>
              <a:xfrm>
                <a:off x="1093353" y="3466657"/>
                <a:ext cx="1653036" cy="247963"/>
              </a:xfrm>
              <a:prstGeom prst="rect">
                <a:avLst/>
              </a:prstGeom>
              <a:solidFill>
                <a:srgbClr val="F9B200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Etude</a:t>
                </a:r>
              </a:p>
            </p:txBody>
          </p:sp>
          <p:sp>
            <p:nvSpPr>
              <p:cNvPr id="85" name="ZoneTexte 84">
                <a:extLst>
                  <a:ext uri="{FF2B5EF4-FFF2-40B4-BE49-F238E27FC236}">
                    <a16:creationId xmlns:a16="http://schemas.microsoft.com/office/drawing/2014/main" id="{EC1E6F34-9568-BFD4-4EA9-0824DB611627}"/>
                  </a:ext>
                </a:extLst>
              </p:cNvPr>
              <p:cNvSpPr txBox="1"/>
              <p:nvPr/>
            </p:nvSpPr>
            <p:spPr>
              <a:xfrm>
                <a:off x="2805554" y="3464584"/>
                <a:ext cx="1653036" cy="247962"/>
              </a:xfrm>
              <a:prstGeom prst="rect">
                <a:avLst/>
              </a:prstGeom>
              <a:solidFill>
                <a:srgbClr val="F9B200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Décision</a:t>
                </a:r>
              </a:p>
            </p:txBody>
          </p:sp>
          <p:sp>
            <p:nvSpPr>
              <p:cNvPr id="86" name="ZoneTexte 85">
                <a:extLst>
                  <a:ext uri="{FF2B5EF4-FFF2-40B4-BE49-F238E27FC236}">
                    <a16:creationId xmlns:a16="http://schemas.microsoft.com/office/drawing/2014/main" id="{1C1C8A02-5F78-51AF-E01F-B1873C23937F}"/>
                  </a:ext>
                </a:extLst>
              </p:cNvPr>
              <p:cNvSpPr txBox="1"/>
              <p:nvPr/>
            </p:nvSpPr>
            <p:spPr>
              <a:xfrm>
                <a:off x="4561540" y="3464585"/>
                <a:ext cx="1653036" cy="247961"/>
              </a:xfrm>
              <a:prstGeom prst="rect">
                <a:avLst/>
              </a:prstGeom>
              <a:solidFill>
                <a:srgbClr val="F9B200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onstruction                                                                                                                </a:t>
                </a:r>
              </a:p>
            </p:txBody>
          </p:sp>
          <p:sp>
            <p:nvSpPr>
              <p:cNvPr id="87" name="ZoneTexte 86">
                <a:extLst>
                  <a:ext uri="{FF2B5EF4-FFF2-40B4-BE49-F238E27FC236}">
                    <a16:creationId xmlns:a16="http://schemas.microsoft.com/office/drawing/2014/main" id="{0715F685-B09D-5E0D-D888-91C78D3696B2}"/>
                  </a:ext>
                </a:extLst>
              </p:cNvPr>
              <p:cNvSpPr txBox="1"/>
              <p:nvPr/>
            </p:nvSpPr>
            <p:spPr>
              <a:xfrm>
                <a:off x="6312060" y="3464583"/>
                <a:ext cx="1653036" cy="247963"/>
              </a:xfrm>
              <a:prstGeom prst="rect">
                <a:avLst/>
              </a:prstGeom>
              <a:solidFill>
                <a:srgbClr val="F9B200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Exploitation &amp; Maintenance</a:t>
                </a:r>
              </a:p>
            </p:txBody>
          </p:sp>
        </p:grpSp>
        <p:grpSp>
          <p:nvGrpSpPr>
            <p:cNvPr id="66" name="Groupe 65">
              <a:extLst>
                <a:ext uri="{FF2B5EF4-FFF2-40B4-BE49-F238E27FC236}">
                  <a16:creationId xmlns:a16="http://schemas.microsoft.com/office/drawing/2014/main" id="{305E2C61-82DF-91D1-5AE6-5A533B65FD38}"/>
                </a:ext>
              </a:extLst>
            </p:cNvPr>
            <p:cNvGrpSpPr/>
            <p:nvPr/>
          </p:nvGrpSpPr>
          <p:grpSpPr>
            <a:xfrm>
              <a:off x="1099723" y="2426322"/>
              <a:ext cx="7399203" cy="407273"/>
              <a:chOff x="1099847" y="2426521"/>
              <a:chExt cx="6866165" cy="419384"/>
            </a:xfrm>
          </p:grpSpPr>
          <p:sp>
            <p:nvSpPr>
              <p:cNvPr id="80" name="ZoneTexte 79">
                <a:extLst>
                  <a:ext uri="{FF2B5EF4-FFF2-40B4-BE49-F238E27FC236}">
                    <a16:creationId xmlns:a16="http://schemas.microsoft.com/office/drawing/2014/main" id="{A96B0F34-48B0-F5C2-53F2-A4DAF5003862}"/>
                  </a:ext>
                </a:extLst>
              </p:cNvPr>
              <p:cNvSpPr txBox="1"/>
              <p:nvPr/>
            </p:nvSpPr>
            <p:spPr>
              <a:xfrm>
                <a:off x="1099847" y="2431564"/>
                <a:ext cx="1653037" cy="408764"/>
              </a:xfrm>
              <a:prstGeom prst="rect">
                <a:avLst/>
              </a:prstGeom>
              <a:solidFill>
                <a:srgbClr val="1B92BA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>
                <a:defPPr>
                  <a:defRPr lang="fr-FR"/>
                </a:defPPr>
                <a:lvl1pPr algn="ctr">
                  <a:defRPr sz="1000">
                    <a:latin typeface="Avenir LT Std 55 Roman"/>
                  </a:defRPr>
                </a:lvl1pPr>
              </a:lstStyle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Recueil des besoins, étude de faisabilité et conception de l’offre </a:t>
                </a:r>
              </a:p>
            </p:txBody>
          </p:sp>
          <p:sp>
            <p:nvSpPr>
              <p:cNvPr id="81" name="ZoneTexte 80">
                <a:extLst>
                  <a:ext uri="{FF2B5EF4-FFF2-40B4-BE49-F238E27FC236}">
                    <a16:creationId xmlns:a16="http://schemas.microsoft.com/office/drawing/2014/main" id="{6CFDF476-1447-F190-30ED-F90E9D446439}"/>
                  </a:ext>
                </a:extLst>
              </p:cNvPr>
              <p:cNvSpPr txBox="1"/>
              <p:nvPr/>
            </p:nvSpPr>
            <p:spPr>
              <a:xfrm>
                <a:off x="2865008" y="2437141"/>
                <a:ext cx="1653037" cy="408764"/>
              </a:xfrm>
              <a:prstGeom prst="rect">
                <a:avLst/>
              </a:prstGeom>
              <a:solidFill>
                <a:srgbClr val="1B92BA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>
                <a:defPPr>
                  <a:defRPr lang="fr-FR"/>
                </a:defPPr>
                <a:lvl1pPr algn="ctr">
                  <a:defRPr sz="1000">
                    <a:latin typeface="Avenir LT Std 55 Roman"/>
                  </a:defRPr>
                </a:lvl1pPr>
              </a:lstStyle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Réception de l’offre &amp; Organisation du projet </a:t>
                </a:r>
              </a:p>
            </p:txBody>
          </p:sp>
          <p:sp>
            <p:nvSpPr>
              <p:cNvPr id="82" name="ZoneTexte 81">
                <a:extLst>
                  <a:ext uri="{FF2B5EF4-FFF2-40B4-BE49-F238E27FC236}">
                    <a16:creationId xmlns:a16="http://schemas.microsoft.com/office/drawing/2014/main" id="{16F541DF-A3A8-5A21-B303-BBCB1C8B2767}"/>
                  </a:ext>
                </a:extLst>
              </p:cNvPr>
              <p:cNvSpPr txBox="1"/>
              <p:nvPr/>
            </p:nvSpPr>
            <p:spPr>
              <a:xfrm>
                <a:off x="4595123" y="2437139"/>
                <a:ext cx="1653037" cy="408764"/>
              </a:xfrm>
              <a:prstGeom prst="rect">
                <a:avLst/>
              </a:prstGeom>
              <a:solidFill>
                <a:srgbClr val="1B92BA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>
                <a:defPPr>
                  <a:defRPr lang="fr-FR"/>
                </a:defPPr>
                <a:lvl1pPr algn="ctr">
                  <a:defRPr sz="1000">
                    <a:latin typeface="Avenir LT Std 55 Roman"/>
                  </a:defRPr>
                </a:lvl1pPr>
              </a:lstStyle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ravaux &amp; Mise en gaz                                                                                                                    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67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3" name="ZoneTexte 82">
                <a:extLst>
                  <a:ext uri="{FF2B5EF4-FFF2-40B4-BE49-F238E27FC236}">
                    <a16:creationId xmlns:a16="http://schemas.microsoft.com/office/drawing/2014/main" id="{F9212829-553A-E323-A7D5-A09E575199E6}"/>
                  </a:ext>
                </a:extLst>
              </p:cNvPr>
              <p:cNvSpPr txBox="1"/>
              <p:nvPr/>
            </p:nvSpPr>
            <p:spPr>
              <a:xfrm>
                <a:off x="6312975" y="2426521"/>
                <a:ext cx="1653037" cy="408764"/>
              </a:xfrm>
              <a:prstGeom prst="rect">
                <a:avLst/>
              </a:prstGeom>
              <a:solidFill>
                <a:srgbClr val="1B92BA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>
                <a:defPPr>
                  <a:defRPr lang="fr-FR"/>
                </a:defPPr>
                <a:lvl1pPr algn="ctr">
                  <a:defRPr sz="1000">
                    <a:latin typeface="Avenir LT Std 55 Roman"/>
                  </a:defRPr>
                </a:lvl1pPr>
              </a:lstStyle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Mise en service ou mise à disposition du gaz</a:t>
                </a:r>
              </a:p>
            </p:txBody>
          </p:sp>
        </p:grpSp>
        <p:grpSp>
          <p:nvGrpSpPr>
            <p:cNvPr id="67" name="Groupe 66">
              <a:extLst>
                <a:ext uri="{FF2B5EF4-FFF2-40B4-BE49-F238E27FC236}">
                  <a16:creationId xmlns:a16="http://schemas.microsoft.com/office/drawing/2014/main" id="{AFCDF8E0-B495-72FB-5C0F-BC2AF9F3ADA7}"/>
                </a:ext>
              </a:extLst>
            </p:cNvPr>
            <p:cNvGrpSpPr/>
            <p:nvPr/>
          </p:nvGrpSpPr>
          <p:grpSpPr>
            <a:xfrm>
              <a:off x="1102793" y="5328141"/>
              <a:ext cx="7407356" cy="680674"/>
              <a:chOff x="1094757" y="5325945"/>
              <a:chExt cx="6863536" cy="741515"/>
            </a:xfrm>
          </p:grpSpPr>
          <p:sp>
            <p:nvSpPr>
              <p:cNvPr id="75" name="ZoneTexte 74">
                <a:extLst>
                  <a:ext uri="{FF2B5EF4-FFF2-40B4-BE49-F238E27FC236}">
                    <a16:creationId xmlns:a16="http://schemas.microsoft.com/office/drawing/2014/main" id="{6B54B4A2-4C96-9685-8880-35A7F16E7EC0}"/>
                  </a:ext>
                </a:extLst>
              </p:cNvPr>
              <p:cNvSpPr txBox="1"/>
              <p:nvPr/>
            </p:nvSpPr>
            <p:spPr>
              <a:xfrm>
                <a:off x="1094757" y="5332080"/>
                <a:ext cx="1309142" cy="731825"/>
              </a:xfrm>
              <a:prstGeom prst="rect">
                <a:avLst/>
              </a:prstGeom>
              <a:solidFill>
                <a:srgbClr val="70B856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Détection et compréhension des besoins et des attentes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67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6" name="ZoneTexte 75">
                <a:extLst>
                  <a:ext uri="{FF2B5EF4-FFF2-40B4-BE49-F238E27FC236}">
                    <a16:creationId xmlns:a16="http://schemas.microsoft.com/office/drawing/2014/main" id="{DF0E4B11-11B7-8F28-5E8D-E4E329CBA58E}"/>
                  </a:ext>
                </a:extLst>
              </p:cNvPr>
              <p:cNvSpPr txBox="1"/>
              <p:nvPr/>
            </p:nvSpPr>
            <p:spPr>
              <a:xfrm>
                <a:off x="2493214" y="5333805"/>
                <a:ext cx="1309142" cy="731826"/>
              </a:xfrm>
              <a:prstGeom prst="rect">
                <a:avLst/>
              </a:prstGeom>
              <a:solidFill>
                <a:srgbClr val="70B856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riblage, établissement d’une stratégie et proposition d’une solution d’accompagnement</a:t>
                </a:r>
              </a:p>
            </p:txBody>
          </p:sp>
          <p:sp>
            <p:nvSpPr>
              <p:cNvPr id="77" name="ZoneTexte 76">
                <a:extLst>
                  <a:ext uri="{FF2B5EF4-FFF2-40B4-BE49-F238E27FC236}">
                    <a16:creationId xmlns:a16="http://schemas.microsoft.com/office/drawing/2014/main" id="{DC05F3F9-3E6F-7397-090D-337F0500173F}"/>
                  </a:ext>
                </a:extLst>
              </p:cNvPr>
              <p:cNvSpPr txBox="1"/>
              <p:nvPr/>
            </p:nvSpPr>
            <p:spPr>
              <a:xfrm>
                <a:off x="3882505" y="5335635"/>
                <a:ext cx="1309142" cy="731825"/>
              </a:xfrm>
              <a:prstGeom prst="rect">
                <a:avLst/>
              </a:prstGeom>
              <a:solidFill>
                <a:srgbClr val="70B856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ccompagnement et négociation avec les acteurs  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                                                                                                  </a:t>
                </a:r>
              </a:p>
            </p:txBody>
          </p:sp>
          <p:sp>
            <p:nvSpPr>
              <p:cNvPr id="78" name="ZoneTexte 77">
                <a:extLst>
                  <a:ext uri="{FF2B5EF4-FFF2-40B4-BE49-F238E27FC236}">
                    <a16:creationId xmlns:a16="http://schemas.microsoft.com/office/drawing/2014/main" id="{B5CFE108-4613-35C0-EB1D-532BA9EA6B9F}"/>
                  </a:ext>
                </a:extLst>
              </p:cNvPr>
              <p:cNvSpPr txBox="1"/>
              <p:nvPr/>
            </p:nvSpPr>
            <p:spPr>
              <a:xfrm>
                <a:off x="6649151" y="5325945"/>
                <a:ext cx="1309142" cy="731827"/>
              </a:xfrm>
              <a:prstGeom prst="rect">
                <a:avLst/>
              </a:prstGeom>
              <a:solidFill>
                <a:srgbClr val="70B856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Gestion de l’accompagnement et la relation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67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9" name="ZoneTexte 78">
                <a:extLst>
                  <a:ext uri="{FF2B5EF4-FFF2-40B4-BE49-F238E27FC236}">
                    <a16:creationId xmlns:a16="http://schemas.microsoft.com/office/drawing/2014/main" id="{7400510B-DE01-5E6C-4193-37EA20BCE07E}"/>
                  </a:ext>
                </a:extLst>
              </p:cNvPr>
              <p:cNvSpPr txBox="1"/>
              <p:nvPr/>
            </p:nvSpPr>
            <p:spPr>
              <a:xfrm>
                <a:off x="5256512" y="5345800"/>
                <a:ext cx="1309142" cy="711496"/>
              </a:xfrm>
              <a:prstGeom prst="rect">
                <a:avLst/>
              </a:prstGeom>
              <a:solidFill>
                <a:srgbClr val="70B856">
                  <a:lumMod val="20000"/>
                  <a:lumOff val="80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67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0" marR="0" lvl="0" indent="0" algn="ctr" defTabSz="685800" eaLnBrk="1" fontAlgn="auto" latinLnBrk="0" hangingPunct="1">
                  <a:lnSpc>
                    <a:spcPts val="675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Formalisation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67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67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68" name="Groupe 67">
              <a:extLst>
                <a:ext uri="{FF2B5EF4-FFF2-40B4-BE49-F238E27FC236}">
                  <a16:creationId xmlns:a16="http://schemas.microsoft.com/office/drawing/2014/main" id="{F0269587-A587-6126-A152-882C0AA80CCD}"/>
                </a:ext>
              </a:extLst>
            </p:cNvPr>
            <p:cNvGrpSpPr/>
            <p:nvPr/>
          </p:nvGrpSpPr>
          <p:grpSpPr>
            <a:xfrm>
              <a:off x="1104590" y="4047282"/>
              <a:ext cx="7398276" cy="809577"/>
              <a:chOff x="-193370" y="4053330"/>
              <a:chExt cx="8208984" cy="801222"/>
            </a:xfrm>
          </p:grpSpPr>
          <p:sp>
            <p:nvSpPr>
              <p:cNvPr id="69" name="ZoneTexte 68">
                <a:extLst>
                  <a:ext uri="{FF2B5EF4-FFF2-40B4-BE49-F238E27FC236}">
                    <a16:creationId xmlns:a16="http://schemas.microsoft.com/office/drawing/2014/main" id="{7CDC0D80-5F8B-70E4-542F-C8B06BB9D46E}"/>
                  </a:ext>
                </a:extLst>
              </p:cNvPr>
              <p:cNvSpPr txBox="1"/>
              <p:nvPr/>
            </p:nvSpPr>
            <p:spPr>
              <a:xfrm>
                <a:off x="6692269" y="4053715"/>
                <a:ext cx="1323345" cy="800836"/>
              </a:xfrm>
              <a:prstGeom prst="rect">
                <a:avLst/>
              </a:prstGeom>
              <a:solidFill>
                <a:srgbClr val="E7E6E6"/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alcul, contrôle et émission des factures acheminement /livraison aux fournisseurs</a:t>
                </a:r>
              </a:p>
            </p:txBody>
          </p:sp>
          <p:sp>
            <p:nvSpPr>
              <p:cNvPr id="70" name="ZoneTexte 69">
                <a:extLst>
                  <a:ext uri="{FF2B5EF4-FFF2-40B4-BE49-F238E27FC236}">
                    <a16:creationId xmlns:a16="http://schemas.microsoft.com/office/drawing/2014/main" id="{EAD15A96-E4F0-2F1E-F73C-47DC8F886454}"/>
                  </a:ext>
                </a:extLst>
              </p:cNvPr>
              <p:cNvSpPr txBox="1"/>
              <p:nvPr/>
            </p:nvSpPr>
            <p:spPr>
              <a:xfrm>
                <a:off x="5316790" y="4053715"/>
                <a:ext cx="1323345" cy="800836"/>
              </a:xfrm>
              <a:prstGeom prst="rect">
                <a:avLst/>
              </a:prstGeom>
              <a:solidFill>
                <a:srgbClr val="E7E6E6"/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Gestion de la relation contractuelle avec les fournisseurs/ tiers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67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67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1" name="ZoneTexte 70">
                <a:extLst>
                  <a:ext uri="{FF2B5EF4-FFF2-40B4-BE49-F238E27FC236}">
                    <a16:creationId xmlns:a16="http://schemas.microsoft.com/office/drawing/2014/main" id="{373FBEB8-2C1A-9A09-2C37-5B792F9E2F8E}"/>
                  </a:ext>
                </a:extLst>
              </p:cNvPr>
              <p:cNvSpPr txBox="1"/>
              <p:nvPr/>
            </p:nvSpPr>
            <p:spPr>
              <a:xfrm>
                <a:off x="3941137" y="4053330"/>
                <a:ext cx="1323343" cy="801221"/>
              </a:xfrm>
              <a:prstGeom prst="rect">
                <a:avLst/>
              </a:prstGeom>
              <a:solidFill>
                <a:srgbClr val="E7E6E6"/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cquisition, correction et mise à disposition des index, du calcul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67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2" name="ZoneTexte 71">
                <a:extLst>
                  <a:ext uri="{FF2B5EF4-FFF2-40B4-BE49-F238E27FC236}">
                    <a16:creationId xmlns:a16="http://schemas.microsoft.com/office/drawing/2014/main" id="{DE78982C-1560-CCE5-B5F9-1DD88AABD19B}"/>
                  </a:ext>
                </a:extLst>
              </p:cNvPr>
              <p:cNvSpPr txBox="1"/>
              <p:nvPr/>
            </p:nvSpPr>
            <p:spPr>
              <a:xfrm>
                <a:off x="2559704" y="4053715"/>
                <a:ext cx="1323343" cy="800836"/>
              </a:xfrm>
              <a:prstGeom prst="rect">
                <a:avLst/>
              </a:prstGeom>
              <a:solidFill>
                <a:srgbClr val="E7E6E6"/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Réception et traitement des demandes d’acheminement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67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3" name="ZoneTexte 72">
                <a:extLst>
                  <a:ext uri="{FF2B5EF4-FFF2-40B4-BE49-F238E27FC236}">
                    <a16:creationId xmlns:a16="http://schemas.microsoft.com/office/drawing/2014/main" id="{F64B1BE7-5CCB-D829-FFD7-C34A2D0E974D}"/>
                  </a:ext>
                </a:extLst>
              </p:cNvPr>
              <p:cNvSpPr txBox="1"/>
              <p:nvPr/>
            </p:nvSpPr>
            <p:spPr>
              <a:xfrm>
                <a:off x="1186580" y="4053715"/>
                <a:ext cx="1323343" cy="800836"/>
              </a:xfrm>
              <a:prstGeom prst="rect">
                <a:avLst/>
              </a:prstGeom>
              <a:solidFill>
                <a:srgbClr val="E7E6E6"/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Planification, programmation et réalisation les interventions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67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74" name="ZoneTexte 73">
                <a:extLst>
                  <a:ext uri="{FF2B5EF4-FFF2-40B4-BE49-F238E27FC236}">
                    <a16:creationId xmlns:a16="http://schemas.microsoft.com/office/drawing/2014/main" id="{D34072AC-46E5-8BCF-7759-C11E4E789DD7}"/>
                  </a:ext>
                </a:extLst>
              </p:cNvPr>
              <p:cNvSpPr txBox="1"/>
              <p:nvPr/>
            </p:nvSpPr>
            <p:spPr>
              <a:xfrm>
                <a:off x="-193370" y="4053716"/>
                <a:ext cx="1323345" cy="800836"/>
              </a:xfrm>
              <a:prstGeom prst="rect">
                <a:avLst/>
              </a:prstGeom>
              <a:solidFill>
                <a:srgbClr val="E7E6E6"/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675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ccueil et orientation des contacts clients &amp; fournisseurs</a:t>
                </a: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67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  <a:p>
                <a:pPr marL="0" marR="0" lvl="0" indent="0" algn="ctr" defTabSz="6858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675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90" name="Groupe 89">
            <a:extLst>
              <a:ext uri="{FF2B5EF4-FFF2-40B4-BE49-F238E27FC236}">
                <a16:creationId xmlns:a16="http://schemas.microsoft.com/office/drawing/2014/main" id="{6E9F7040-BC75-3756-901C-0C52AC78A442}"/>
              </a:ext>
            </a:extLst>
          </p:cNvPr>
          <p:cNvGrpSpPr/>
          <p:nvPr/>
        </p:nvGrpSpPr>
        <p:grpSpPr>
          <a:xfrm>
            <a:off x="6714157" y="2564911"/>
            <a:ext cx="2180441" cy="1516448"/>
            <a:chOff x="8977218" y="1964558"/>
            <a:chExt cx="2000150" cy="1983778"/>
          </a:xfrm>
          <a:solidFill>
            <a:srgbClr val="E7E6E6"/>
          </a:solidFill>
        </p:grpSpPr>
        <p:sp>
          <p:nvSpPr>
            <p:cNvPr id="91" name="ZoneTexte 90">
              <a:extLst>
                <a:ext uri="{FF2B5EF4-FFF2-40B4-BE49-F238E27FC236}">
                  <a16:creationId xmlns:a16="http://schemas.microsoft.com/office/drawing/2014/main" id="{A9B19ECD-3E93-7AF5-FD7C-89632DFFA797}"/>
                </a:ext>
              </a:extLst>
            </p:cNvPr>
            <p:cNvSpPr txBox="1"/>
            <p:nvPr/>
          </p:nvSpPr>
          <p:spPr>
            <a:xfrm>
              <a:off x="8977218" y="1964558"/>
              <a:ext cx="2000150" cy="301968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chats &amp; Approvisionnement</a:t>
              </a:r>
            </a:p>
          </p:txBody>
        </p:sp>
        <p:sp>
          <p:nvSpPr>
            <p:cNvPr id="92" name="ZoneTexte 91">
              <a:extLst>
                <a:ext uri="{FF2B5EF4-FFF2-40B4-BE49-F238E27FC236}">
                  <a16:creationId xmlns:a16="http://schemas.microsoft.com/office/drawing/2014/main" id="{6385DBD9-B32D-F697-3D60-64B9A0285EA0}"/>
                </a:ext>
              </a:extLst>
            </p:cNvPr>
            <p:cNvSpPr txBox="1"/>
            <p:nvPr/>
          </p:nvSpPr>
          <p:spPr>
            <a:xfrm>
              <a:off x="8977219" y="2363117"/>
              <a:ext cx="1987642" cy="301968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mmobilier &amp; Tertiaire</a:t>
              </a:r>
            </a:p>
          </p:txBody>
        </p:sp>
        <p:sp>
          <p:nvSpPr>
            <p:cNvPr id="93" name="ZoneTexte 92">
              <a:extLst>
                <a:ext uri="{FF2B5EF4-FFF2-40B4-BE49-F238E27FC236}">
                  <a16:creationId xmlns:a16="http://schemas.microsoft.com/office/drawing/2014/main" id="{57B7550A-B517-C70A-24C8-D3E802927A87}"/>
                </a:ext>
              </a:extLst>
            </p:cNvPr>
            <p:cNvSpPr txBox="1"/>
            <p:nvPr/>
          </p:nvSpPr>
          <p:spPr>
            <a:xfrm>
              <a:off x="8977219" y="3646368"/>
              <a:ext cx="1993035" cy="301968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9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inance </a:t>
              </a:r>
            </a:p>
          </p:txBody>
        </p:sp>
      </p:grpSp>
      <p:sp>
        <p:nvSpPr>
          <p:cNvPr id="94" name="ZoneTexte 93">
            <a:extLst>
              <a:ext uri="{FF2B5EF4-FFF2-40B4-BE49-F238E27FC236}">
                <a16:creationId xmlns:a16="http://schemas.microsoft.com/office/drawing/2014/main" id="{285F040B-2024-1F27-38C1-E89EE4460E58}"/>
              </a:ext>
            </a:extLst>
          </p:cNvPr>
          <p:cNvSpPr txBox="1"/>
          <p:nvPr/>
        </p:nvSpPr>
        <p:spPr>
          <a:xfrm>
            <a:off x="6707089" y="3192974"/>
            <a:ext cx="2172686" cy="230832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ssources humaines</a:t>
            </a:r>
          </a:p>
        </p:txBody>
      </p:sp>
      <p:sp>
        <p:nvSpPr>
          <p:cNvPr id="95" name="ZoneTexte 94">
            <a:extLst>
              <a:ext uri="{FF2B5EF4-FFF2-40B4-BE49-F238E27FC236}">
                <a16:creationId xmlns:a16="http://schemas.microsoft.com/office/drawing/2014/main" id="{B57B9064-18F6-45EC-F984-E62FD26D34C8}"/>
              </a:ext>
            </a:extLst>
          </p:cNvPr>
          <p:cNvSpPr txBox="1"/>
          <p:nvPr/>
        </p:nvSpPr>
        <p:spPr>
          <a:xfrm>
            <a:off x="6714157" y="4181948"/>
            <a:ext cx="2172686" cy="230832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estion du parc véhicules</a:t>
            </a:r>
          </a:p>
        </p:txBody>
      </p:sp>
      <p:sp>
        <p:nvSpPr>
          <p:cNvPr id="96" name="ZoneTexte 95">
            <a:extLst>
              <a:ext uri="{FF2B5EF4-FFF2-40B4-BE49-F238E27FC236}">
                <a16:creationId xmlns:a16="http://schemas.microsoft.com/office/drawing/2014/main" id="{D92EBB95-87A3-53A8-8AA3-BD33B2C406C4}"/>
              </a:ext>
            </a:extLst>
          </p:cNvPr>
          <p:cNvSpPr txBox="1"/>
          <p:nvPr/>
        </p:nvSpPr>
        <p:spPr>
          <a:xfrm>
            <a:off x="6714158" y="4519621"/>
            <a:ext cx="2172685" cy="230832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mmunication</a:t>
            </a:r>
          </a:p>
        </p:txBody>
      </p:sp>
      <p:sp>
        <p:nvSpPr>
          <p:cNvPr id="97" name="ZoneTexte 96">
            <a:extLst>
              <a:ext uri="{FF2B5EF4-FFF2-40B4-BE49-F238E27FC236}">
                <a16:creationId xmlns:a16="http://schemas.microsoft.com/office/drawing/2014/main" id="{F7373062-8492-CDAF-72BB-35B8136CD25A}"/>
              </a:ext>
            </a:extLst>
          </p:cNvPr>
          <p:cNvSpPr txBox="1"/>
          <p:nvPr/>
        </p:nvSpPr>
        <p:spPr>
          <a:xfrm>
            <a:off x="6707089" y="3512854"/>
            <a:ext cx="2172686" cy="230832"/>
          </a:xfrm>
          <a:prstGeom prst="rect">
            <a:avLst/>
          </a:prstGeom>
          <a:solidFill>
            <a:srgbClr val="E7E6E6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 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E580EDF-DA61-D912-BC35-848E88AEBBCC}"/>
              </a:ext>
            </a:extLst>
          </p:cNvPr>
          <p:cNvSpPr>
            <a:spLocks/>
          </p:cNvSpPr>
          <p:nvPr/>
        </p:nvSpPr>
        <p:spPr>
          <a:xfrm>
            <a:off x="495299" y="2494790"/>
            <a:ext cx="5830345" cy="567326"/>
          </a:xfrm>
          <a:prstGeom prst="rect">
            <a:avLst/>
          </a:prstGeom>
          <a:noFill/>
          <a:ln w="38100" cap="flat" cmpd="sng" algn="ctr">
            <a:solidFill>
              <a:srgbClr val="E3560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84">
              <a:defRPr/>
            </a:pPr>
            <a:endParaRPr lang="fr-FR" sz="900" b="1" kern="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606F7A02-9138-BF5B-C512-8AD8A17E001F}"/>
              </a:ext>
            </a:extLst>
          </p:cNvPr>
          <p:cNvSpPr>
            <a:spLocks/>
          </p:cNvSpPr>
          <p:nvPr/>
        </p:nvSpPr>
        <p:spPr>
          <a:xfrm>
            <a:off x="6707089" y="2569506"/>
            <a:ext cx="2184443" cy="203155"/>
          </a:xfrm>
          <a:prstGeom prst="rect">
            <a:avLst/>
          </a:prstGeom>
          <a:noFill/>
          <a:ln w="38100" cap="flat" cmpd="sng" algn="ctr">
            <a:solidFill>
              <a:srgbClr val="E3560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84"/>
            <a:endParaRPr lang="fr-FR" sz="900" b="1" kern="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A69FAA04-AE51-33C4-97B2-82A7919E8CCB}"/>
              </a:ext>
            </a:extLst>
          </p:cNvPr>
          <p:cNvSpPr>
            <a:spLocks/>
          </p:cNvSpPr>
          <p:nvPr/>
        </p:nvSpPr>
        <p:spPr>
          <a:xfrm>
            <a:off x="180977" y="1970701"/>
            <a:ext cx="225505" cy="3517224"/>
          </a:xfrm>
          <a:prstGeom prst="rect">
            <a:avLst/>
          </a:prstGeom>
          <a:noFill/>
          <a:ln w="38100" cap="flat" cmpd="sng" algn="ctr">
            <a:solidFill>
              <a:srgbClr val="E3560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84"/>
            <a:endParaRPr lang="fr-FR" sz="900" b="1" kern="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F3998A54-F573-AE81-DD5B-4FAC41DD75AF}"/>
              </a:ext>
            </a:extLst>
          </p:cNvPr>
          <p:cNvSpPr>
            <a:spLocks/>
          </p:cNvSpPr>
          <p:nvPr/>
        </p:nvSpPr>
        <p:spPr>
          <a:xfrm>
            <a:off x="549961" y="5693812"/>
            <a:ext cx="323180" cy="148034"/>
          </a:xfrm>
          <a:prstGeom prst="rect">
            <a:avLst/>
          </a:prstGeom>
          <a:noFill/>
          <a:ln w="28575" cap="flat" cmpd="sng" algn="ctr">
            <a:solidFill>
              <a:srgbClr val="E3560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84">
              <a:defRPr/>
            </a:pPr>
            <a:endParaRPr lang="fr-FR" sz="900" b="1" kern="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" name="ZoneTexte 101">
            <a:extLst>
              <a:ext uri="{FF2B5EF4-FFF2-40B4-BE49-F238E27FC236}">
                <a16:creationId xmlns:a16="http://schemas.microsoft.com/office/drawing/2014/main" id="{FB788327-70ED-3802-E68E-F56B86D44385}"/>
              </a:ext>
            </a:extLst>
          </p:cNvPr>
          <p:cNvSpPr txBox="1"/>
          <p:nvPr/>
        </p:nvSpPr>
        <p:spPr>
          <a:xfrm>
            <a:off x="67270" y="5663233"/>
            <a:ext cx="2640295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75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cessus prioritaire</a:t>
            </a:r>
          </a:p>
        </p:txBody>
      </p:sp>
    </p:spTree>
    <p:extLst>
      <p:ext uri="{BB962C8B-B14F-4D97-AF65-F5344CB8AC3E}">
        <p14:creationId xmlns:p14="http://schemas.microsoft.com/office/powerpoint/2010/main" val="29619859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963194-F26B-C8E3-54A0-C7CB3B3A1C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pour une image  7" descr="Une image contenant assis, casque, table, petit&#10;&#10;Description générée automatiquement">
            <a:extLst>
              <a:ext uri="{FF2B5EF4-FFF2-40B4-BE49-F238E27FC236}">
                <a16:creationId xmlns:a16="http://schemas.microsoft.com/office/drawing/2014/main" id="{18E32B19-59E0-A0FA-FD2A-F7662A47053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888" b="18888"/>
          <a:stretch>
            <a:fillRect/>
          </a:stretch>
        </p:blipFill>
        <p:spPr/>
      </p:pic>
      <p:sp>
        <p:nvSpPr>
          <p:cNvPr id="80" name="Titre 1">
            <a:extLst>
              <a:ext uri="{FF2B5EF4-FFF2-40B4-BE49-F238E27FC236}">
                <a16:creationId xmlns:a16="http://schemas.microsoft.com/office/drawing/2014/main" id="{AE34B422-0145-00FA-1AEF-5C838C5095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9569" y="3548063"/>
            <a:ext cx="4779170" cy="1215628"/>
          </a:xfrm>
        </p:spPr>
        <p:txBody>
          <a:bodyPr vert="horz" lIns="54000" tIns="0" rIns="72000" bIns="0" rtlCol="0" anchor="b" anchorCtr="0">
            <a:noAutofit/>
          </a:bodyPr>
          <a:lstStyle/>
          <a:p>
            <a:r>
              <a:rPr lang="fr-FR" b="1">
                <a:latin typeface="Calibri"/>
                <a:cs typeface="Calibri"/>
              </a:rPr>
              <a:t>Architecture Fonctionnell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25B0D172-2B64-4B1B-C82A-D433A1457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14</a:t>
            </a:fld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B514154-4F9A-86C8-1B77-C68A51EC37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185267"/>
            <a:ext cx="1772216" cy="1512170"/>
          </a:xfrm>
        </p:spPr>
        <p:txBody>
          <a:bodyPr/>
          <a:lstStyle/>
          <a:p>
            <a:r>
              <a:rPr lang="fr-FR" u="sng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14847587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95B8219-1A3D-8E27-5B27-8E7241D6F1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2067" y="6581076"/>
            <a:ext cx="383721" cy="276924"/>
          </a:xfrm>
        </p:spPr>
        <p:txBody>
          <a:bodyPr/>
          <a:lstStyle/>
          <a:p>
            <a:pPr algn="l"/>
            <a:fld id="{5727D703-01AD-4B48-9E69-5E906C8C77D4}" type="slidenum"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pPr algn="l"/>
              <a:t>15</a:t>
            </a:fld>
            <a:endParaRPr lang="en-U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21524DF2-F7EF-743F-33AB-6DE2750D840E}"/>
              </a:ext>
            </a:extLst>
          </p:cNvPr>
          <p:cNvSpPr txBox="1"/>
          <p:nvPr/>
        </p:nvSpPr>
        <p:spPr>
          <a:xfrm>
            <a:off x="1624510" y="342000"/>
            <a:ext cx="3783032" cy="7641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685800">
              <a:defRPr/>
            </a:pPr>
            <a:r>
              <a:rPr lang="fr-FR" sz="2400" b="1" kern="0">
                <a:solidFill>
                  <a:srgbClr val="70B856"/>
                </a:solidFill>
                <a:latin typeface="Calibri"/>
                <a:cs typeface="Calibri"/>
                <a:sym typeface="Arial"/>
              </a:rPr>
              <a:t>Architecture Fonctionnelle</a:t>
            </a:r>
          </a:p>
          <a:p>
            <a:pPr defTabSz="685800">
              <a:lnSpc>
                <a:spcPts val="2250"/>
              </a:lnSpc>
              <a:spcBef>
                <a:spcPct val="0"/>
              </a:spcBef>
              <a:defRPr/>
            </a:pPr>
            <a:endParaRPr lang="fr-FR" sz="2400" b="1" kern="0">
              <a:solidFill>
                <a:srgbClr val="70B856"/>
              </a:solidFill>
              <a:latin typeface="Calibri"/>
              <a:cs typeface="Calibri"/>
            </a:endParaRPr>
          </a:p>
        </p:txBody>
      </p:sp>
      <p:sp>
        <p:nvSpPr>
          <p:cNvPr id="3" name="Google Shape;511;ge679e65e7c_0_1876">
            <a:extLst>
              <a:ext uri="{FF2B5EF4-FFF2-40B4-BE49-F238E27FC236}">
                <a16:creationId xmlns:a16="http://schemas.microsoft.com/office/drawing/2014/main" id="{BB700A34-AD83-47A2-4EE1-64258F647782}"/>
              </a:ext>
            </a:extLst>
          </p:cNvPr>
          <p:cNvSpPr txBox="1"/>
          <p:nvPr/>
        </p:nvSpPr>
        <p:spPr>
          <a:xfrm>
            <a:off x="4613221" y="2366893"/>
            <a:ext cx="4290706" cy="3177552"/>
          </a:xfrm>
          <a:prstGeom prst="rect">
            <a:avLst/>
          </a:prstGeom>
          <a:solidFill>
            <a:srgbClr val="CFE2F3"/>
          </a:solidFill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algn="ctr">
              <a:buClr>
                <a:srgbClr val="000000"/>
              </a:buClr>
              <a:buSzPts val="800"/>
            </a:pPr>
            <a:r>
              <a:rPr lang="en-US" sz="1200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S/4 HANA</a:t>
            </a:r>
          </a:p>
        </p:txBody>
      </p:sp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CD371984-7ABC-5A5B-662B-6C1160AB8E11}"/>
              </a:ext>
            </a:extLst>
          </p:cNvPr>
          <p:cNvGraphicFramePr>
            <a:graphicFrameLocks noGrp="1"/>
          </p:cNvGraphicFramePr>
          <p:nvPr/>
        </p:nvGraphicFramePr>
        <p:xfrm>
          <a:off x="192497" y="1607432"/>
          <a:ext cx="8711430" cy="365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55715">
                  <a:extLst>
                    <a:ext uri="{9D8B030D-6E8A-4147-A177-3AD203B41FA5}">
                      <a16:colId xmlns:a16="http://schemas.microsoft.com/office/drawing/2014/main" val="1978703961"/>
                    </a:ext>
                  </a:extLst>
                </a:gridCol>
                <a:gridCol w="4355715">
                  <a:extLst>
                    <a:ext uri="{9D8B030D-6E8A-4147-A177-3AD203B41FA5}">
                      <a16:colId xmlns:a16="http://schemas.microsoft.com/office/drawing/2014/main" val="1858270522"/>
                    </a:ext>
                  </a:extLst>
                </a:gridCol>
              </a:tblGrid>
              <a:tr h="336953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fr-FR" sz="1800" b="1" u="none" strike="noStrike" baseline="0" noProof="0">
                          <a:solidFill>
                            <a:schemeClr val="tx1"/>
                          </a:solidFill>
                          <a:latin typeface="Calibri"/>
                        </a:rPr>
                        <a:t>Existant</a:t>
                      </a: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fr-FR" sz="1800" b="1" u="none" strike="noStrike" baseline="0" noProof="0">
                          <a:solidFill>
                            <a:schemeClr val="tx1"/>
                          </a:solidFill>
                          <a:latin typeface="Calibri"/>
                        </a:rPr>
                        <a:t>Cible*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7947976"/>
                  </a:ext>
                </a:extLst>
              </a:tr>
            </a:tbl>
          </a:graphicData>
        </a:graphic>
      </p:graphicFrame>
      <p:sp>
        <p:nvSpPr>
          <p:cNvPr id="7" name="Google Shape;511;ge679e65e7c_0_1876">
            <a:extLst>
              <a:ext uri="{FF2B5EF4-FFF2-40B4-BE49-F238E27FC236}">
                <a16:creationId xmlns:a16="http://schemas.microsoft.com/office/drawing/2014/main" id="{D16170EF-FDD1-22E5-D1CD-A44B51CC8755}"/>
              </a:ext>
            </a:extLst>
          </p:cNvPr>
          <p:cNvSpPr txBox="1"/>
          <p:nvPr/>
        </p:nvSpPr>
        <p:spPr>
          <a:xfrm>
            <a:off x="871512" y="2366893"/>
            <a:ext cx="2958762" cy="2365419"/>
          </a:xfrm>
          <a:prstGeom prst="rect">
            <a:avLst/>
          </a:prstGeom>
          <a:solidFill>
            <a:schemeClr val="bg2"/>
          </a:solidFill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algn="ctr">
              <a:buClr>
                <a:srgbClr val="000000"/>
              </a:buClr>
              <a:buSzPts val="800"/>
            </a:pPr>
            <a:r>
              <a:rPr lang="en" sz="1200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SAP ECC</a:t>
            </a:r>
            <a:endParaRPr lang="fr-FR" sz="1200" b="1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  <a:sym typeface="Arial"/>
            </a:endParaRPr>
          </a:p>
          <a:p>
            <a:pPr algn="ctr">
              <a:buClr>
                <a:srgbClr val="000000"/>
              </a:buClr>
              <a:buSzPts val="800"/>
            </a:pPr>
            <a:r>
              <a:rPr lang="fr-FR" sz="1200" b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Arial"/>
              </a:rPr>
              <a:t>Rapsodie</a:t>
            </a:r>
          </a:p>
        </p:txBody>
      </p:sp>
      <p:sp>
        <p:nvSpPr>
          <p:cNvPr id="9" name="Google Shape;624;ge679e65e7c_0_1876">
            <a:extLst>
              <a:ext uri="{FF2B5EF4-FFF2-40B4-BE49-F238E27FC236}">
                <a16:creationId xmlns:a16="http://schemas.microsoft.com/office/drawing/2014/main" id="{2F74AEE2-FB6F-0411-3CCE-3412C997CCBF}"/>
              </a:ext>
            </a:extLst>
          </p:cNvPr>
          <p:cNvSpPr txBox="1"/>
          <p:nvPr/>
        </p:nvSpPr>
        <p:spPr>
          <a:xfrm>
            <a:off x="4699570" y="2964924"/>
            <a:ext cx="1185955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ial Accounting</a:t>
            </a:r>
          </a:p>
        </p:txBody>
      </p:sp>
      <p:sp>
        <p:nvSpPr>
          <p:cNvPr id="10" name="Google Shape;624;ge679e65e7c_0_1876">
            <a:extLst>
              <a:ext uri="{FF2B5EF4-FFF2-40B4-BE49-F238E27FC236}">
                <a16:creationId xmlns:a16="http://schemas.microsoft.com/office/drawing/2014/main" id="{5398D9B3-9763-1F73-5950-D23758A7C2E2}"/>
              </a:ext>
            </a:extLst>
          </p:cNvPr>
          <p:cNvSpPr txBox="1"/>
          <p:nvPr/>
        </p:nvSpPr>
        <p:spPr>
          <a:xfrm>
            <a:off x="4699570" y="3368574"/>
            <a:ext cx="1185955" cy="430873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enue and Cost Accounting</a:t>
            </a:r>
          </a:p>
        </p:txBody>
      </p:sp>
      <p:sp>
        <p:nvSpPr>
          <p:cNvPr id="11" name="Google Shape;624;ge679e65e7c_0_1876">
            <a:extLst>
              <a:ext uri="{FF2B5EF4-FFF2-40B4-BE49-F238E27FC236}">
                <a16:creationId xmlns:a16="http://schemas.microsoft.com/office/drawing/2014/main" id="{19C87143-B726-605C-2E2F-0B8854692871}"/>
              </a:ext>
            </a:extLst>
          </p:cNvPr>
          <p:cNvSpPr txBox="1"/>
          <p:nvPr/>
        </p:nvSpPr>
        <p:spPr>
          <a:xfrm>
            <a:off x="4699570" y="3898930"/>
            <a:ext cx="1185955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tity Close</a:t>
            </a:r>
          </a:p>
        </p:txBody>
      </p:sp>
      <p:sp>
        <p:nvSpPr>
          <p:cNvPr id="12" name="Google Shape;624;ge679e65e7c_0_1876">
            <a:extLst>
              <a:ext uri="{FF2B5EF4-FFF2-40B4-BE49-F238E27FC236}">
                <a16:creationId xmlns:a16="http://schemas.microsoft.com/office/drawing/2014/main" id="{4F607B26-D393-DD76-EB62-4931DD8FA5D1}"/>
              </a:ext>
            </a:extLst>
          </p:cNvPr>
          <p:cNvSpPr txBox="1"/>
          <p:nvPr/>
        </p:nvSpPr>
        <p:spPr>
          <a:xfrm>
            <a:off x="6233627" y="2964924"/>
            <a:ext cx="1185955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count Receivable</a:t>
            </a:r>
          </a:p>
        </p:txBody>
      </p:sp>
      <p:sp>
        <p:nvSpPr>
          <p:cNvPr id="13" name="Google Shape;624;ge679e65e7c_0_1876">
            <a:extLst>
              <a:ext uri="{FF2B5EF4-FFF2-40B4-BE49-F238E27FC236}">
                <a16:creationId xmlns:a16="http://schemas.microsoft.com/office/drawing/2014/main" id="{1366BC74-26A3-0638-B1E3-3253E37BC9CC}"/>
              </a:ext>
            </a:extLst>
          </p:cNvPr>
          <p:cNvSpPr txBox="1"/>
          <p:nvPr/>
        </p:nvSpPr>
        <p:spPr>
          <a:xfrm>
            <a:off x="6233627" y="4685384"/>
            <a:ext cx="1185955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count Payable</a:t>
            </a:r>
          </a:p>
        </p:txBody>
      </p:sp>
      <p:sp>
        <p:nvSpPr>
          <p:cNvPr id="14" name="Google Shape;624;ge679e65e7c_0_1876">
            <a:extLst>
              <a:ext uri="{FF2B5EF4-FFF2-40B4-BE49-F238E27FC236}">
                <a16:creationId xmlns:a16="http://schemas.microsoft.com/office/drawing/2014/main" id="{B390A7B5-D5AA-B176-99C5-15D25DE7BE75}"/>
              </a:ext>
            </a:extLst>
          </p:cNvPr>
          <p:cNvSpPr txBox="1"/>
          <p:nvPr/>
        </p:nvSpPr>
        <p:spPr>
          <a:xfrm>
            <a:off x="984292" y="2890930"/>
            <a:ext cx="810994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-GL</a:t>
            </a:r>
          </a:p>
        </p:txBody>
      </p:sp>
      <p:sp>
        <p:nvSpPr>
          <p:cNvPr id="15" name="Google Shape;624;ge679e65e7c_0_1876">
            <a:extLst>
              <a:ext uri="{FF2B5EF4-FFF2-40B4-BE49-F238E27FC236}">
                <a16:creationId xmlns:a16="http://schemas.microsoft.com/office/drawing/2014/main" id="{C91D40C5-42D1-176A-FFAC-7C66BDDC64A7}"/>
              </a:ext>
            </a:extLst>
          </p:cNvPr>
          <p:cNvSpPr txBox="1"/>
          <p:nvPr/>
        </p:nvSpPr>
        <p:spPr>
          <a:xfrm>
            <a:off x="994355" y="3318882"/>
            <a:ext cx="810994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-AA</a:t>
            </a:r>
          </a:p>
        </p:txBody>
      </p:sp>
      <p:sp>
        <p:nvSpPr>
          <p:cNvPr id="16" name="Google Shape;624;ge679e65e7c_0_1876">
            <a:extLst>
              <a:ext uri="{FF2B5EF4-FFF2-40B4-BE49-F238E27FC236}">
                <a16:creationId xmlns:a16="http://schemas.microsoft.com/office/drawing/2014/main" id="{8C84EF30-ECFA-FC75-FFE7-DD8EE976B8F4}"/>
              </a:ext>
            </a:extLst>
          </p:cNvPr>
          <p:cNvSpPr txBox="1"/>
          <p:nvPr/>
        </p:nvSpPr>
        <p:spPr>
          <a:xfrm>
            <a:off x="2825633" y="2899465"/>
            <a:ext cx="810994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-AR</a:t>
            </a:r>
          </a:p>
        </p:txBody>
      </p:sp>
      <p:sp>
        <p:nvSpPr>
          <p:cNvPr id="17" name="Google Shape;624;ge679e65e7c_0_1876">
            <a:extLst>
              <a:ext uri="{FF2B5EF4-FFF2-40B4-BE49-F238E27FC236}">
                <a16:creationId xmlns:a16="http://schemas.microsoft.com/office/drawing/2014/main" id="{C702D28C-B533-C16C-34F5-197B05DFB4A2}"/>
              </a:ext>
            </a:extLst>
          </p:cNvPr>
          <p:cNvSpPr txBox="1"/>
          <p:nvPr/>
        </p:nvSpPr>
        <p:spPr>
          <a:xfrm>
            <a:off x="1901380" y="3309572"/>
            <a:ext cx="810994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M</a:t>
            </a:r>
          </a:p>
        </p:txBody>
      </p:sp>
      <p:sp>
        <p:nvSpPr>
          <p:cNvPr id="18" name="Google Shape;624;ge679e65e7c_0_1876">
            <a:extLst>
              <a:ext uri="{FF2B5EF4-FFF2-40B4-BE49-F238E27FC236}">
                <a16:creationId xmlns:a16="http://schemas.microsoft.com/office/drawing/2014/main" id="{2A7B3D80-5CCE-295D-F827-E664BD85F714}"/>
              </a:ext>
            </a:extLst>
          </p:cNvPr>
          <p:cNvSpPr txBox="1"/>
          <p:nvPr/>
        </p:nvSpPr>
        <p:spPr>
          <a:xfrm>
            <a:off x="2809728" y="3304729"/>
            <a:ext cx="810994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D</a:t>
            </a:r>
          </a:p>
        </p:txBody>
      </p:sp>
      <p:sp>
        <p:nvSpPr>
          <p:cNvPr id="19" name="Google Shape;624;ge679e65e7c_0_1876">
            <a:extLst>
              <a:ext uri="{FF2B5EF4-FFF2-40B4-BE49-F238E27FC236}">
                <a16:creationId xmlns:a16="http://schemas.microsoft.com/office/drawing/2014/main" id="{FF10FD02-5F02-7B9D-D747-B15603FE3223}"/>
              </a:ext>
            </a:extLst>
          </p:cNvPr>
          <p:cNvSpPr txBox="1"/>
          <p:nvPr/>
        </p:nvSpPr>
        <p:spPr>
          <a:xfrm>
            <a:off x="984292" y="3745049"/>
            <a:ext cx="810994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S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D9EEFD21-01E0-A47E-6A01-1E472172149C}"/>
              </a:ext>
            </a:extLst>
          </p:cNvPr>
          <p:cNvSpPr txBox="1"/>
          <p:nvPr/>
        </p:nvSpPr>
        <p:spPr>
          <a:xfrm>
            <a:off x="4099035" y="5964464"/>
            <a:ext cx="5044965" cy="57708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sz="1050">
                <a:latin typeface="Calibri"/>
                <a:cs typeface="Calibri"/>
              </a:rPr>
              <a:t>*Proposition non exhaustive à compléter à la suite des ateliers avec SAP et des ateliers de revue des processus métiers</a:t>
            </a:r>
          </a:p>
          <a:p>
            <a:r>
              <a:rPr lang="fr-FR" sz="1050">
                <a:latin typeface="Calibri"/>
                <a:cs typeface="Calibri"/>
              </a:rPr>
              <a:t>** Point à valider sur la couverture du module HR</a:t>
            </a:r>
          </a:p>
        </p:txBody>
      </p:sp>
      <p:sp>
        <p:nvSpPr>
          <p:cNvPr id="21" name="Google Shape;624;ge679e65e7c_0_1876">
            <a:extLst>
              <a:ext uri="{FF2B5EF4-FFF2-40B4-BE49-F238E27FC236}">
                <a16:creationId xmlns:a16="http://schemas.microsoft.com/office/drawing/2014/main" id="{A31B4905-49F9-BCB0-1E44-709F96A6B93C}"/>
              </a:ext>
            </a:extLst>
          </p:cNvPr>
          <p:cNvSpPr txBox="1"/>
          <p:nvPr/>
        </p:nvSpPr>
        <p:spPr>
          <a:xfrm>
            <a:off x="6233627" y="3360838"/>
            <a:ext cx="1185955" cy="430873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redit Evaluation and Management</a:t>
            </a:r>
          </a:p>
        </p:txBody>
      </p:sp>
      <p:sp>
        <p:nvSpPr>
          <p:cNvPr id="22" name="Google Shape;624;ge679e65e7c_0_1876">
            <a:extLst>
              <a:ext uri="{FF2B5EF4-FFF2-40B4-BE49-F238E27FC236}">
                <a16:creationId xmlns:a16="http://schemas.microsoft.com/office/drawing/2014/main" id="{549DAFAA-5510-165A-B0E1-0583822962BC}"/>
              </a:ext>
            </a:extLst>
          </p:cNvPr>
          <p:cNvSpPr txBox="1"/>
          <p:nvPr/>
        </p:nvSpPr>
        <p:spPr>
          <a:xfrm>
            <a:off x="6233627" y="3898930"/>
            <a:ext cx="1185955" cy="430873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ank Statement Processing</a:t>
            </a:r>
          </a:p>
        </p:txBody>
      </p:sp>
      <p:sp>
        <p:nvSpPr>
          <p:cNvPr id="23" name="Google Shape;624;ge679e65e7c_0_1876">
            <a:extLst>
              <a:ext uri="{FF2B5EF4-FFF2-40B4-BE49-F238E27FC236}">
                <a16:creationId xmlns:a16="http://schemas.microsoft.com/office/drawing/2014/main" id="{2A59CBB1-2AEC-A3D4-B4F8-F53BA93F8603}"/>
              </a:ext>
            </a:extLst>
          </p:cNvPr>
          <p:cNvSpPr txBox="1"/>
          <p:nvPr/>
        </p:nvSpPr>
        <p:spPr>
          <a:xfrm>
            <a:off x="6233627" y="5086482"/>
            <a:ext cx="1185955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voice Management</a:t>
            </a:r>
          </a:p>
        </p:txBody>
      </p:sp>
      <p:sp>
        <p:nvSpPr>
          <p:cNvPr id="24" name="Google Shape;624;ge679e65e7c_0_1876">
            <a:extLst>
              <a:ext uri="{FF2B5EF4-FFF2-40B4-BE49-F238E27FC236}">
                <a16:creationId xmlns:a16="http://schemas.microsoft.com/office/drawing/2014/main" id="{DC893BFD-D644-A2E9-01B6-D08C1DD78A71}"/>
              </a:ext>
            </a:extLst>
          </p:cNvPr>
          <p:cNvSpPr txBox="1"/>
          <p:nvPr/>
        </p:nvSpPr>
        <p:spPr>
          <a:xfrm>
            <a:off x="7620975" y="2964924"/>
            <a:ext cx="1185955" cy="430873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mployee Administration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2DD7DBA8-F5FA-C873-E9C0-F806ECC19097}"/>
              </a:ext>
            </a:extLst>
          </p:cNvPr>
          <p:cNvSpPr txBox="1"/>
          <p:nvPr/>
        </p:nvSpPr>
        <p:spPr>
          <a:xfrm>
            <a:off x="8027358" y="2707434"/>
            <a:ext cx="3731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R</a:t>
            </a:r>
            <a:endParaRPr lang="en-US" sz="1000" b="1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3968F560-864C-C939-1C5F-1E0B920ABF6D}"/>
              </a:ext>
            </a:extLst>
          </p:cNvPr>
          <p:cNvSpPr txBox="1"/>
          <p:nvPr/>
        </p:nvSpPr>
        <p:spPr>
          <a:xfrm>
            <a:off x="6621516" y="2707433"/>
            <a:ext cx="4482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TC</a:t>
            </a:r>
            <a:endParaRPr lang="en-US" sz="1000" b="1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6561F691-C75D-07A7-CFEF-B5A7D6BBA6C5}"/>
              </a:ext>
            </a:extLst>
          </p:cNvPr>
          <p:cNvSpPr txBox="1"/>
          <p:nvPr/>
        </p:nvSpPr>
        <p:spPr>
          <a:xfrm>
            <a:off x="6602486" y="4436012"/>
            <a:ext cx="4482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TP</a:t>
            </a:r>
            <a:endParaRPr lang="en-US" sz="1000" b="1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74923A0C-3950-255A-5459-ED8B7BA916E1}"/>
              </a:ext>
            </a:extLst>
          </p:cNvPr>
          <p:cNvSpPr txBox="1"/>
          <p:nvPr/>
        </p:nvSpPr>
        <p:spPr>
          <a:xfrm>
            <a:off x="4993925" y="2717153"/>
            <a:ext cx="5972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00" b="1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nance</a:t>
            </a:r>
            <a:endParaRPr lang="en-US" sz="1000" b="1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43C3FA43-DC25-D1CE-8BC9-89A7010E7F8C}"/>
              </a:ext>
            </a:extLst>
          </p:cNvPr>
          <p:cNvSpPr txBox="1"/>
          <p:nvPr/>
        </p:nvSpPr>
        <p:spPr>
          <a:xfrm>
            <a:off x="4869665" y="4434187"/>
            <a:ext cx="9265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curement</a:t>
            </a:r>
          </a:p>
        </p:txBody>
      </p:sp>
      <p:sp>
        <p:nvSpPr>
          <p:cNvPr id="30" name="Google Shape;624;ge679e65e7c_0_1876">
            <a:extLst>
              <a:ext uri="{FF2B5EF4-FFF2-40B4-BE49-F238E27FC236}">
                <a16:creationId xmlns:a16="http://schemas.microsoft.com/office/drawing/2014/main" id="{D868AA3F-DDAB-ED31-4402-08E23FD83C6E}"/>
              </a:ext>
            </a:extLst>
          </p:cNvPr>
          <p:cNvSpPr txBox="1"/>
          <p:nvPr/>
        </p:nvSpPr>
        <p:spPr>
          <a:xfrm>
            <a:off x="4730668" y="4666519"/>
            <a:ext cx="1185955" cy="430873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rchase Order Processing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1E94E730-7DD4-3F56-DBD5-5111269AF508}"/>
              </a:ext>
            </a:extLst>
          </p:cNvPr>
          <p:cNvSpPr txBox="1"/>
          <p:nvPr/>
        </p:nvSpPr>
        <p:spPr>
          <a:xfrm>
            <a:off x="7931028" y="3641325"/>
            <a:ext cx="5658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chemeClr val="tx2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ject</a:t>
            </a:r>
          </a:p>
        </p:txBody>
      </p:sp>
      <p:sp>
        <p:nvSpPr>
          <p:cNvPr id="32" name="Google Shape;624;ge679e65e7c_0_1876">
            <a:extLst>
              <a:ext uri="{FF2B5EF4-FFF2-40B4-BE49-F238E27FC236}">
                <a16:creationId xmlns:a16="http://schemas.microsoft.com/office/drawing/2014/main" id="{1327B333-6655-10E6-EC21-3379DC61B2CF}"/>
              </a:ext>
            </a:extLst>
          </p:cNvPr>
          <p:cNvSpPr txBox="1"/>
          <p:nvPr/>
        </p:nvSpPr>
        <p:spPr>
          <a:xfrm>
            <a:off x="7620974" y="3887546"/>
            <a:ext cx="1185955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ject Management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C08C0D1A-0663-61BD-EE98-C2990D686B69}"/>
              </a:ext>
            </a:extLst>
          </p:cNvPr>
          <p:cNvSpPr txBox="1"/>
          <p:nvPr/>
        </p:nvSpPr>
        <p:spPr>
          <a:xfrm>
            <a:off x="168790" y="977582"/>
            <a:ext cx="88586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/>
              <a:t>Discussion sur les capacités solutions SAP S/4 à mettre en œuvre au regard de la déclinaison des processus métiers tout en prenant en compte les capacités solutions existantes de l’ERP.</a:t>
            </a:r>
            <a:endParaRPr lang="en-US" sz="1400"/>
          </a:p>
        </p:txBody>
      </p:sp>
      <p:sp>
        <p:nvSpPr>
          <p:cNvPr id="2" name="Google Shape;624;ge679e65e7c_0_1876">
            <a:extLst>
              <a:ext uri="{FF2B5EF4-FFF2-40B4-BE49-F238E27FC236}">
                <a16:creationId xmlns:a16="http://schemas.microsoft.com/office/drawing/2014/main" id="{0F9F4B86-289B-4852-7AE4-2638D116460D}"/>
              </a:ext>
            </a:extLst>
          </p:cNvPr>
          <p:cNvSpPr txBox="1"/>
          <p:nvPr/>
        </p:nvSpPr>
        <p:spPr>
          <a:xfrm>
            <a:off x="1901380" y="2889677"/>
            <a:ext cx="810994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-AP</a:t>
            </a:r>
          </a:p>
        </p:txBody>
      </p:sp>
      <p:sp>
        <p:nvSpPr>
          <p:cNvPr id="6" name="Google Shape;624;ge679e65e7c_0_1876">
            <a:extLst>
              <a:ext uri="{FF2B5EF4-FFF2-40B4-BE49-F238E27FC236}">
                <a16:creationId xmlns:a16="http://schemas.microsoft.com/office/drawing/2014/main" id="{190B8DE4-4275-647C-5F1B-23D612385ABC}"/>
              </a:ext>
            </a:extLst>
          </p:cNvPr>
          <p:cNvSpPr txBox="1"/>
          <p:nvPr/>
        </p:nvSpPr>
        <p:spPr>
          <a:xfrm>
            <a:off x="2809728" y="3752779"/>
            <a:ext cx="810994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R**</a:t>
            </a:r>
          </a:p>
        </p:txBody>
      </p:sp>
      <p:sp>
        <p:nvSpPr>
          <p:cNvPr id="8" name="Google Shape;624;ge679e65e7c_0_1876">
            <a:extLst>
              <a:ext uri="{FF2B5EF4-FFF2-40B4-BE49-F238E27FC236}">
                <a16:creationId xmlns:a16="http://schemas.microsoft.com/office/drawing/2014/main" id="{6A601CA4-C3B5-34D5-089D-E2A1FA7A9C9A}"/>
              </a:ext>
            </a:extLst>
          </p:cNvPr>
          <p:cNvSpPr txBox="1"/>
          <p:nvPr/>
        </p:nvSpPr>
        <p:spPr>
          <a:xfrm>
            <a:off x="1908066" y="3755509"/>
            <a:ext cx="810994" cy="307762"/>
          </a:xfrm>
          <a:prstGeom prst="rect">
            <a:avLst/>
          </a:prstGeom>
          <a:noFill/>
          <a:ln w="9525" cap="flat" cmpd="sng">
            <a:solidFill>
              <a:srgbClr val="1155CC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91433" rIns="91433" bIns="91433" anchor="t" anchorCtr="0">
            <a:spAutoFit/>
          </a:bodyPr>
          <a:lstStyle>
            <a:defPPr>
              <a:defRPr lang="en-US"/>
            </a:defPPr>
            <a:lvl1pPr algn="ctr">
              <a:buClr>
                <a:srgbClr val="000000"/>
              </a:buClr>
              <a:buSzPts val="600"/>
              <a:defRPr sz="800">
                <a:solidFill>
                  <a:srgbClr val="000000"/>
                </a:solidFill>
                <a:latin typeface="Arial"/>
                <a:ea typeface="Arial"/>
                <a:cs typeface="Arial"/>
              </a:defRPr>
            </a:lvl1pPr>
          </a:lstStyle>
          <a:p>
            <a:r>
              <a:rPr lang="en-US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M</a:t>
            </a:r>
          </a:p>
        </p:txBody>
      </p:sp>
    </p:spTree>
    <p:extLst>
      <p:ext uri="{BB962C8B-B14F-4D97-AF65-F5344CB8AC3E}">
        <p14:creationId xmlns:p14="http://schemas.microsoft.com/office/powerpoint/2010/main" val="18419767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95B8219-1A3D-8E27-5B27-8E7241D6F1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2067" y="6581076"/>
            <a:ext cx="383721" cy="276924"/>
          </a:xfrm>
        </p:spPr>
        <p:txBody>
          <a:bodyPr/>
          <a:lstStyle/>
          <a:p>
            <a:pPr algn="l"/>
            <a:fld id="{5727D703-01AD-4B48-9E69-5E906C8C77D4}" type="slidenum"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pPr algn="l"/>
              <a:t>16</a:t>
            </a:fld>
            <a:endParaRPr lang="en-U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21524DF2-F7EF-743F-33AB-6DE2750D840E}"/>
              </a:ext>
            </a:extLst>
          </p:cNvPr>
          <p:cNvSpPr txBox="1"/>
          <p:nvPr/>
        </p:nvSpPr>
        <p:spPr>
          <a:xfrm>
            <a:off x="1624510" y="342000"/>
            <a:ext cx="5873570" cy="7641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685800">
              <a:defRPr/>
            </a:pPr>
            <a:r>
              <a:rPr lang="fr-FR" sz="2400" b="1" kern="0">
                <a:solidFill>
                  <a:srgbClr val="70B856"/>
                </a:solidFill>
                <a:latin typeface="Calibri"/>
                <a:cs typeface="Calibri"/>
                <a:sym typeface="Arial"/>
              </a:rPr>
              <a:t>Architecture Fonctionnelle - Ventes</a:t>
            </a:r>
          </a:p>
          <a:p>
            <a:pPr defTabSz="685800">
              <a:lnSpc>
                <a:spcPts val="2250"/>
              </a:lnSpc>
              <a:spcBef>
                <a:spcPct val="0"/>
              </a:spcBef>
              <a:defRPr/>
            </a:pPr>
            <a:endParaRPr lang="fr-FR" sz="2400" b="1" kern="0">
              <a:solidFill>
                <a:srgbClr val="70B856"/>
              </a:solidFill>
              <a:latin typeface="Calibri"/>
              <a:cs typeface="Calibri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3DF7259-34A4-2DA7-67E4-307E33F1ACDF}"/>
              </a:ext>
            </a:extLst>
          </p:cNvPr>
          <p:cNvSpPr txBox="1"/>
          <p:nvPr/>
        </p:nvSpPr>
        <p:spPr>
          <a:xfrm>
            <a:off x="4099034" y="6109138"/>
            <a:ext cx="5044965" cy="4154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sz="1050">
                <a:latin typeface="Calibri"/>
                <a:cs typeface="Calibri"/>
              </a:rPr>
              <a:t>*Proposition non exhaustive à compléter à la suite des ateliers avec SAP et des ateliers de revue des processus métiers</a:t>
            </a: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4305154E-D3D2-737C-7FE4-603EEDD0E4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496528"/>
              </p:ext>
            </p:extLst>
          </p:nvPr>
        </p:nvGraphicFramePr>
        <p:xfrm>
          <a:off x="216285" y="1308015"/>
          <a:ext cx="8711430" cy="4724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55715">
                  <a:extLst>
                    <a:ext uri="{9D8B030D-6E8A-4147-A177-3AD203B41FA5}">
                      <a16:colId xmlns:a16="http://schemas.microsoft.com/office/drawing/2014/main" val="3835594375"/>
                    </a:ext>
                  </a:extLst>
                </a:gridCol>
                <a:gridCol w="4355715">
                  <a:extLst>
                    <a:ext uri="{9D8B030D-6E8A-4147-A177-3AD203B41FA5}">
                      <a16:colId xmlns:a16="http://schemas.microsoft.com/office/drawing/2014/main" val="3484220893"/>
                    </a:ext>
                  </a:extLst>
                </a:gridCol>
              </a:tblGrid>
              <a:tr h="336953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fr-FR" sz="1800" b="1" u="none" strike="noStrike" baseline="0" noProof="0" dirty="0">
                          <a:solidFill>
                            <a:schemeClr val="tx1"/>
                          </a:solidFill>
                          <a:latin typeface="Calibri"/>
                        </a:rPr>
                        <a:t>Notes</a:t>
                      </a: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fr-FR" sz="1800" b="1" u="none" strike="noStrike" baseline="0" noProof="0">
                          <a:solidFill>
                            <a:schemeClr val="tx1"/>
                          </a:solidFill>
                          <a:latin typeface="Calibri"/>
                        </a:rPr>
                        <a:t>Cible *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6997624"/>
                  </a:ext>
                </a:extLst>
              </a:tr>
              <a:tr h="106701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  <a:latin typeface="Calibri"/>
                        </a:rPr>
                        <a:t>Gestion de la Master Data: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  <a:latin typeface="Calibri"/>
                        </a:rPr>
                        <a:t>Clients : Eléments d’amélioration, flux de création en amont, client B2C, chantiers à prévoir – Gouvernance à poser (Métiers différents, cas d’exception, pour certains clients pas de référentiel…) – Projet Client 360 – CRM (raccordement) 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  <a:latin typeface="Calibri"/>
                        </a:rPr>
                        <a:t>Ordre interne =&gt; Elément d'OTP 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endParaRPr lang="fr-FR" sz="1400" dirty="0">
                        <a:solidFill>
                          <a:schemeClr val="tx1"/>
                        </a:solidFill>
                        <a:latin typeface="Calibri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  <a:latin typeface="Calibri"/>
                        </a:rPr>
                        <a:t>Relance client / Gestion du contentieux</a:t>
                      </a: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  <a:latin typeface="Calibri"/>
                        </a:rPr>
                        <a:t>Facturation: 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  <a:latin typeface="Calibri"/>
                        </a:rPr>
                        <a:t>A voir le périmètre fonctionne de l’application GRP vs Standard SAP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  <a:latin typeface="Calibri"/>
                        </a:rPr>
                        <a:t>Initiative en cours de mise en place automatisation des factures de redevanc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fr-FR" sz="1400" dirty="0">
                        <a:solidFill>
                          <a:schemeClr val="tx1"/>
                        </a:solidFill>
                        <a:latin typeface="Calibri"/>
                      </a:endParaRP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  <a:latin typeface="Calibri"/>
                        </a:rPr>
                        <a:t>Dématérialisation à prévoir 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  <a:latin typeface="Calibri"/>
                        </a:rPr>
                        <a:t>Prix: Ré-indexation des prix sur le Biométhan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  <a:latin typeface="Calibri"/>
                        </a:rPr>
                        <a:t>Indemnisation client:</a:t>
                      </a:r>
                    </a:p>
                    <a:p>
                      <a:pPr marL="742950" marR="0" lvl="1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fr-FR" sz="1400" dirty="0">
                          <a:solidFill>
                            <a:schemeClr val="tx1"/>
                          </a:solidFill>
                          <a:latin typeface="Calibri"/>
                        </a:rPr>
                        <a:t> Interface exista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fr-FR" sz="1400" b="1" dirty="0">
                          <a:latin typeface="Calibri"/>
                        </a:rPr>
                        <a:t>Ventes : 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400" dirty="0">
                          <a:latin typeface="Calibri"/>
                        </a:rPr>
                        <a:t>Gestion de la Master Data : </a:t>
                      </a:r>
                      <a:endParaRPr lang="en-US" sz="1400" dirty="0">
                        <a:latin typeface="Calibri"/>
                      </a:endParaRPr>
                    </a:p>
                    <a:p>
                      <a:pPr marL="742950" marR="0" lvl="1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,monospace"/>
                        <a:buChar char="o"/>
                      </a:pPr>
                      <a:r>
                        <a:rPr lang="fr-FR" sz="1400" dirty="0">
                          <a:latin typeface="Calibri"/>
                        </a:rPr>
                        <a:t>Structures organisationnelles(i.e. Organisations commerciales, etc.)</a:t>
                      </a:r>
                    </a:p>
                    <a:p>
                      <a:pPr marL="742950" marR="0" lvl="1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,monospace"/>
                        <a:buChar char="o"/>
                      </a:pPr>
                      <a:r>
                        <a:rPr lang="fr-FR" sz="1400" dirty="0">
                          <a:latin typeface="Calibri"/>
                        </a:rPr>
                        <a:t>BP Clients</a:t>
                      </a:r>
                      <a:endParaRPr lang="en-US" sz="1400" dirty="0">
                        <a:latin typeface="Calibri"/>
                      </a:endParaRPr>
                    </a:p>
                    <a:p>
                      <a:pPr marL="742950" marR="0" lvl="1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,monospace"/>
                        <a:buChar char="o"/>
                      </a:pPr>
                      <a:r>
                        <a:rPr lang="fr-FR" sz="1400" dirty="0">
                          <a:latin typeface="Calibri"/>
                        </a:rPr>
                        <a:t>Référentiel comptable</a:t>
                      </a:r>
                    </a:p>
                    <a:p>
                      <a:pPr marL="742950" marR="0" lvl="1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,monospace"/>
                        <a:buChar char="o"/>
                      </a:pPr>
                      <a:r>
                        <a:rPr lang="fr-FR" sz="1400" dirty="0">
                          <a:latin typeface="Calibri"/>
                        </a:rPr>
                        <a:t>Centres de coûts </a:t>
                      </a:r>
                    </a:p>
                    <a:p>
                      <a:pPr marL="742950" marR="0" lvl="1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,monospace"/>
                        <a:buChar char="o"/>
                      </a:pPr>
                      <a:r>
                        <a:rPr lang="fr-FR" sz="1400" dirty="0">
                          <a:latin typeface="Calibri"/>
                        </a:rPr>
                        <a:t>Ordres internes</a:t>
                      </a:r>
                    </a:p>
                    <a:p>
                      <a:pPr marL="742950" marR="0" lvl="1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,monospace"/>
                        <a:buChar char="o"/>
                      </a:pPr>
                      <a:r>
                        <a:rPr lang="fr-FR" sz="1400" dirty="0">
                          <a:latin typeface="Calibri"/>
                        </a:rPr>
                        <a:t>Conditions</a:t>
                      </a:r>
                    </a:p>
                    <a:p>
                      <a:pPr marL="285750" marR="0" lvl="0" indent="-2857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4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Gestion des contrats</a:t>
                      </a:r>
                    </a:p>
                    <a:p>
                      <a:pPr marL="285750" marR="0" lvl="0" indent="-2857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4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Intégration/réplication/création des offres</a:t>
                      </a:r>
                    </a:p>
                    <a:p>
                      <a:pPr marL="285750" marR="0" lvl="0" indent="-285750" algn="l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4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Gestion des commandes </a:t>
                      </a:r>
                    </a:p>
                    <a:p>
                      <a:pPr marL="285750" marR="0" lvl="0" indent="-285750" algn="l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4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Facturation et gestion des acomptes </a:t>
                      </a:r>
                    </a:p>
                    <a:p>
                      <a:pPr marL="285750" marR="0" lvl="0" indent="-2857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400" kern="1200" dirty="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Paiements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,monospace"/>
                        <a:buChar char="o"/>
                      </a:pPr>
                      <a:endParaRPr lang="en-US" sz="1400" dirty="0">
                        <a:latin typeface="Calibri"/>
                      </a:endParaRPr>
                    </a:p>
                    <a:p>
                      <a:pPr marL="742950" marR="0" lvl="1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,monospace"/>
                        <a:buChar char="o"/>
                      </a:pPr>
                      <a:endParaRPr lang="en-US" sz="1400" dirty="0"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1003490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49CF6025-C0B6-B922-10BD-4EDC70FD5B2A}"/>
              </a:ext>
            </a:extLst>
          </p:cNvPr>
          <p:cNvSpPr txBox="1"/>
          <p:nvPr/>
        </p:nvSpPr>
        <p:spPr>
          <a:xfrm>
            <a:off x="168790" y="977582"/>
            <a:ext cx="88586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/>
              <a:t>Approfondissement sur les fonctionnalités cible requises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42703509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95B8219-1A3D-8E27-5B27-8E7241D6F1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12067" y="6581076"/>
            <a:ext cx="383721" cy="276924"/>
          </a:xfrm>
        </p:spPr>
        <p:txBody>
          <a:bodyPr/>
          <a:lstStyle/>
          <a:p>
            <a:pPr algn="l"/>
            <a:fld id="{5727D703-01AD-4B48-9E69-5E906C8C77D4}" type="slidenum"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pPr algn="l"/>
              <a:t>17</a:t>
            </a:fld>
            <a:endParaRPr lang="en-U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21524DF2-F7EF-743F-33AB-6DE2750D840E}"/>
              </a:ext>
            </a:extLst>
          </p:cNvPr>
          <p:cNvSpPr txBox="1"/>
          <p:nvPr/>
        </p:nvSpPr>
        <p:spPr>
          <a:xfrm>
            <a:off x="1624510" y="342000"/>
            <a:ext cx="6742250" cy="7641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685800">
              <a:defRPr/>
            </a:pPr>
            <a:r>
              <a:rPr lang="fr-FR" sz="2400" b="1" kern="0">
                <a:solidFill>
                  <a:srgbClr val="70B856"/>
                </a:solidFill>
                <a:latin typeface="Calibri"/>
                <a:cs typeface="Calibri"/>
                <a:sym typeface="Arial"/>
              </a:rPr>
              <a:t>Architecture Fonctionnelle – Comptabilité Générale</a:t>
            </a:r>
          </a:p>
          <a:p>
            <a:pPr defTabSz="685800">
              <a:lnSpc>
                <a:spcPts val="2250"/>
              </a:lnSpc>
              <a:spcBef>
                <a:spcPct val="0"/>
              </a:spcBef>
              <a:defRPr/>
            </a:pPr>
            <a:endParaRPr lang="fr-FR" sz="2400" b="1" kern="0">
              <a:solidFill>
                <a:srgbClr val="70B856"/>
              </a:solidFill>
              <a:latin typeface="Calibri"/>
              <a:cs typeface="Calibri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3DF7259-34A4-2DA7-67E4-307E33F1ACDF}"/>
              </a:ext>
            </a:extLst>
          </p:cNvPr>
          <p:cNvSpPr txBox="1"/>
          <p:nvPr/>
        </p:nvSpPr>
        <p:spPr>
          <a:xfrm>
            <a:off x="4099034" y="6109138"/>
            <a:ext cx="5044965" cy="4154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fr-FR" sz="1050">
                <a:latin typeface="Calibri"/>
                <a:cs typeface="Calibri"/>
              </a:rPr>
              <a:t>*Proposition non exhaustive à compléter à la suite des ateliers avec SAP et des ateliers de revue des processus métiers</a:t>
            </a:r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4305154E-D3D2-737C-7FE4-603EEDD0E4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4213193"/>
              </p:ext>
            </p:extLst>
          </p:nvPr>
        </p:nvGraphicFramePr>
        <p:xfrm>
          <a:off x="216285" y="1298162"/>
          <a:ext cx="8711430" cy="5364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355715">
                  <a:extLst>
                    <a:ext uri="{9D8B030D-6E8A-4147-A177-3AD203B41FA5}">
                      <a16:colId xmlns:a16="http://schemas.microsoft.com/office/drawing/2014/main" val="3835594375"/>
                    </a:ext>
                  </a:extLst>
                </a:gridCol>
                <a:gridCol w="4355715">
                  <a:extLst>
                    <a:ext uri="{9D8B030D-6E8A-4147-A177-3AD203B41FA5}">
                      <a16:colId xmlns:a16="http://schemas.microsoft.com/office/drawing/2014/main" val="3484220893"/>
                    </a:ext>
                  </a:extLst>
                </a:gridCol>
              </a:tblGrid>
              <a:tr h="336953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fr-FR" sz="1800" b="1" u="none" strike="noStrike" baseline="0" noProof="0">
                          <a:solidFill>
                            <a:schemeClr val="tx1"/>
                          </a:solidFill>
                          <a:latin typeface="Calibri"/>
                        </a:rPr>
                        <a:t>Notes</a:t>
                      </a: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fr-FR" sz="1800" b="1" u="none" strike="noStrike" baseline="0" noProof="0">
                          <a:solidFill>
                            <a:schemeClr val="tx1"/>
                          </a:solidFill>
                          <a:latin typeface="Calibri"/>
                        </a:rPr>
                        <a:t>Cible *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6997624"/>
                  </a:ext>
                </a:extLst>
              </a:tr>
              <a:tr h="1067019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solidFill>
                            <a:schemeClr val="tx1"/>
                          </a:solidFill>
                          <a:latin typeface="Calibri"/>
                        </a:rPr>
                        <a:t>Gestion des relances: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solidFill>
                            <a:schemeClr val="tx1"/>
                          </a:solidFill>
                          <a:latin typeface="Calibri"/>
                        </a:rPr>
                        <a:t>Clé de relance – A prévoir: Revue des canaux de distribution / avec les gestionnaires de relance + Formulaire pour la dématérialisation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endParaRPr lang="fr-FR" sz="1400">
                        <a:solidFill>
                          <a:schemeClr val="tx1"/>
                        </a:solidFill>
                        <a:latin typeface="Calibri"/>
                      </a:endParaRP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solidFill>
                            <a:schemeClr val="tx1"/>
                          </a:solidFill>
                          <a:latin typeface="Calibri"/>
                        </a:rPr>
                        <a:t>Pilotage de la clôture:</a:t>
                      </a:r>
                    </a:p>
                    <a:p>
                      <a:pPr marL="1200150" lvl="2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solidFill>
                            <a:schemeClr val="tx1"/>
                          </a:solidFill>
                          <a:latin typeface="Calibri"/>
                        </a:rPr>
                        <a:t>A voir avec le métier si besoin d’outil de cockpit</a:t>
                      </a:r>
                    </a:p>
                    <a:p>
                      <a:pPr marL="1200150" lvl="2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solidFill>
                            <a:schemeClr val="tx1"/>
                          </a:solidFill>
                          <a:latin typeface="Calibri"/>
                        </a:rPr>
                        <a:t>Existence fichier avec toutes les activités et de suivi (date et étapes)</a:t>
                      </a:r>
                    </a:p>
                    <a:p>
                      <a:pPr marL="1200150" lvl="2" indent="-285750">
                        <a:buFont typeface="Arial" panose="020B0604020202020204" pitchFamily="34" charset="0"/>
                        <a:buChar char="•"/>
                      </a:pPr>
                      <a:endParaRPr lang="fr-FR" sz="1400">
                        <a:solidFill>
                          <a:schemeClr val="tx1"/>
                        </a:solidFill>
                        <a:latin typeface="Calibri"/>
                      </a:endParaRP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400">
                          <a:latin typeface="Calibri"/>
                        </a:rPr>
                        <a:t>Gestion des déclarations (TVA, DAS2, etc.)</a:t>
                      </a:r>
                    </a:p>
                    <a:p>
                      <a:pPr marL="1200150" lvl="2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solidFill>
                            <a:schemeClr val="tx1"/>
                          </a:solidFill>
                          <a:latin typeface="Calibri"/>
                        </a:rPr>
                        <a:t>Automatisation de l’édition </a:t>
                      </a:r>
                    </a:p>
                    <a:p>
                      <a:pPr marL="1200150" lvl="2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solidFill>
                            <a:schemeClr val="tx1"/>
                          </a:solidFill>
                          <a:latin typeface="Calibri"/>
                        </a:rPr>
                        <a:t>TVA est réalisé à coté =&gt; Ambition de le faire dans l’ERP</a:t>
                      </a:r>
                    </a:p>
                    <a:p>
                      <a:pPr marL="1200150" lvl="2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solidFill>
                            <a:schemeClr val="tx1"/>
                          </a:solidFill>
                          <a:latin typeface="Calibri"/>
                        </a:rPr>
                        <a:t>Simplification depuis qu’il y a un seul ERP</a:t>
                      </a:r>
                    </a:p>
                    <a:p>
                      <a:pPr marL="1200150" lvl="2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solidFill>
                            <a:schemeClr val="tx1"/>
                          </a:solidFill>
                          <a:latin typeface="Calibri"/>
                        </a:rPr>
                        <a:t>FEC réalisé par l’outil Engie High Bond =&gt; Potentiel à faire dans l’ERP</a:t>
                      </a:r>
                    </a:p>
                    <a:p>
                      <a:pPr marL="1200150" lvl="2" indent="-285750">
                        <a:buFont typeface="Arial" panose="020B0604020202020204" pitchFamily="34" charset="0"/>
                        <a:buChar char="•"/>
                      </a:pPr>
                      <a:endParaRPr lang="fr-FR" sz="1400">
                        <a:solidFill>
                          <a:schemeClr val="tx1"/>
                        </a:solidFill>
                        <a:latin typeface="Calibri"/>
                      </a:endParaRP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solidFill>
                            <a:schemeClr val="tx1"/>
                          </a:solidFill>
                          <a:latin typeface="Calibri"/>
                        </a:rPr>
                        <a:t>Nombreuses interfaces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solidFill>
                            <a:schemeClr val="tx1"/>
                          </a:solidFill>
                          <a:latin typeface="Calibri"/>
                        </a:rPr>
                        <a:t>Calcul contentieux semi spécifique (F107)</a:t>
                      </a:r>
                    </a:p>
                    <a:p>
                      <a:pPr marL="1200150" lvl="2" indent="-285750">
                        <a:buFont typeface="Arial" panose="020B0604020202020204" pitchFamily="34" charset="0"/>
                        <a:buChar char="•"/>
                      </a:pPr>
                      <a:endParaRPr lang="fr-FR" sz="140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fr-FR" sz="1400" b="1">
                          <a:latin typeface="Calibri"/>
                        </a:rPr>
                        <a:t>Comptabilité générale : 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latin typeface="Calibri"/>
                        </a:rPr>
                        <a:t>Gestion de la Master Data : </a:t>
                      </a:r>
                    </a:p>
                    <a:p>
                      <a:pPr marL="742950" marR="0" lvl="1" indent="-285750" algn="l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,monospace"/>
                        <a:buChar char="o"/>
                      </a:pPr>
                      <a:r>
                        <a:rPr lang="fr-FR" sz="1400" kern="120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Structures organisationnelles </a:t>
                      </a:r>
                    </a:p>
                    <a:p>
                      <a:pPr marL="742950" marR="0" lvl="1" indent="-285750" algn="l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,monospace"/>
                        <a:buChar char="o"/>
                      </a:pPr>
                      <a:r>
                        <a:rPr lang="fr-FR" sz="1400" kern="120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Plans de comptes </a:t>
                      </a:r>
                    </a:p>
                    <a:p>
                      <a:pPr marL="742950" marR="0" lvl="1" indent="-2857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,monospace"/>
                        <a:buChar char="o"/>
                      </a:pPr>
                      <a:r>
                        <a:rPr lang="fr-FR" sz="1400" kern="1200">
                          <a:solidFill>
                            <a:schemeClr val="tx1"/>
                          </a:solidFill>
                          <a:latin typeface="Calibri"/>
                          <a:ea typeface="+mn-ea"/>
                          <a:cs typeface="+mn-cs"/>
                        </a:rPr>
                        <a:t>Groupes de comptes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latin typeface="Calibri"/>
                        </a:rPr>
                        <a:t>Production des états financiers réglementaires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latin typeface="Calibri"/>
                        </a:rPr>
                        <a:t>Consolidation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latin typeface="Calibri"/>
                        </a:rPr>
                        <a:t>Pilotage de la clôture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400">
                          <a:latin typeface="Calibri"/>
                        </a:rPr>
                        <a:t>Gestion des déclarations (TVA, DAS2, etc.)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fr-FR" sz="1400" err="1">
                          <a:latin typeface="Calibri"/>
                        </a:rPr>
                        <a:t>Reporting</a:t>
                      </a:r>
                      <a:r>
                        <a:rPr lang="fr-FR" sz="1400">
                          <a:latin typeface="Calibri"/>
                        </a:rPr>
                        <a:t> &amp; Contrôle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None/>
                      </a:pPr>
                      <a:endParaRPr lang="fr-FR" sz="1400">
                        <a:latin typeface="Calibri"/>
                      </a:endParaRPr>
                    </a:p>
                    <a:p>
                      <a:pPr marL="742950" marR="0" lvl="1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endParaRPr lang="fr-FR" sz="1400">
                        <a:latin typeface="Calibri"/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Char char="•"/>
                      </a:pPr>
                      <a:endParaRPr lang="fr-FR" sz="1400">
                        <a:latin typeface="Calibri"/>
                      </a:endParaRPr>
                    </a:p>
                    <a:p>
                      <a:pPr marL="0" marR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 panose="020B0604020202020204" pitchFamily="34" charset="0"/>
                        <a:buNone/>
                      </a:pPr>
                      <a:endParaRPr lang="en-US" sz="1400" kern="120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,monospace"/>
                        <a:buChar char="o"/>
                      </a:pPr>
                      <a:endParaRPr lang="en-US" sz="1400" kern="120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,monospace"/>
                        <a:buChar char="o"/>
                      </a:pPr>
                      <a:endParaRPr lang="en-US" sz="1400">
                        <a:latin typeface="Calibri"/>
                      </a:endParaRPr>
                    </a:p>
                    <a:p>
                      <a:pPr marL="742950" marR="0" lvl="1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,monospace"/>
                        <a:buChar char="o"/>
                      </a:pPr>
                      <a:endParaRPr lang="en-US" sz="1400"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1003490"/>
                  </a:ext>
                </a:extLst>
              </a:tr>
            </a:tbl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49CF6025-C0B6-B922-10BD-4EDC70FD5B2A}"/>
              </a:ext>
            </a:extLst>
          </p:cNvPr>
          <p:cNvSpPr txBox="1"/>
          <p:nvPr/>
        </p:nvSpPr>
        <p:spPr>
          <a:xfrm>
            <a:off x="168790" y="977582"/>
            <a:ext cx="88586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/>
              <a:t>Approfondissement sur les fonctionnalités cible requises</a:t>
            </a: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34336904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660C92-7986-5B1C-2637-7CFE3299DE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pour une image  7" descr="Une image contenant assis, casque, table, petit&#10;&#10;Description générée automatiquement">
            <a:extLst>
              <a:ext uri="{FF2B5EF4-FFF2-40B4-BE49-F238E27FC236}">
                <a16:creationId xmlns:a16="http://schemas.microsoft.com/office/drawing/2014/main" id="{B651536B-4120-9D15-67B8-E72ED056420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888" b="18888"/>
          <a:stretch>
            <a:fillRect/>
          </a:stretch>
        </p:blipFill>
        <p:spPr/>
      </p:pic>
      <p:sp>
        <p:nvSpPr>
          <p:cNvPr id="80" name="Titre 1">
            <a:extLst>
              <a:ext uri="{FF2B5EF4-FFF2-40B4-BE49-F238E27FC236}">
                <a16:creationId xmlns:a16="http://schemas.microsoft.com/office/drawing/2014/main" id="{1387BC54-1155-3AF6-B74F-A241ACBACC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9569" y="3548063"/>
            <a:ext cx="4779170" cy="1215628"/>
          </a:xfrm>
        </p:spPr>
        <p:txBody>
          <a:bodyPr vert="horz" lIns="54000" tIns="0" rIns="72000" bIns="0" rtlCol="0" anchor="b" anchorCtr="0">
            <a:noAutofit/>
          </a:bodyPr>
          <a:lstStyle/>
          <a:p>
            <a:r>
              <a:rPr lang="en-US" sz="1800" b="1" cap="small">
                <a:latin typeface="Calibri"/>
                <a:ea typeface="Calibri" panose="020F0502020204030204" pitchFamily="34" charset="0"/>
                <a:cs typeface="Calibri"/>
              </a:rPr>
              <a:t>Architecture Applicative</a:t>
            </a:r>
            <a:endParaRPr lang="fr-FR" sz="1800">
              <a:solidFill>
                <a:srgbClr val="000000"/>
              </a:solidFill>
              <a:latin typeface="Calibri"/>
              <a:ea typeface="Calibri" panose="020F0502020204030204" pitchFamily="34" charset="0"/>
              <a:cs typeface="Calibri"/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98B8D58C-F520-7CC1-C531-024D634C90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18</a:t>
            </a:fld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1A94896-0644-72A6-2929-5AC7E8C1C01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185267"/>
            <a:ext cx="1772216" cy="1512170"/>
          </a:xfrm>
        </p:spPr>
        <p:txBody>
          <a:bodyPr/>
          <a:lstStyle/>
          <a:p>
            <a:r>
              <a:rPr lang="fr-FR" u="sng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8112565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95B8219-1A3D-8E27-5B27-8E7241D6F1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5727D703-01AD-4B48-9E69-5E906C8C77D4}" type="slidenum"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pPr algn="l"/>
              <a:t>19</a:t>
            </a:fld>
            <a:endParaRPr lang="en-US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21524DF2-F7EF-743F-33AB-6DE2750D840E}"/>
              </a:ext>
            </a:extLst>
          </p:cNvPr>
          <p:cNvSpPr txBox="1"/>
          <p:nvPr/>
        </p:nvSpPr>
        <p:spPr>
          <a:xfrm>
            <a:off x="1624510" y="342000"/>
            <a:ext cx="3783032" cy="7641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685800">
              <a:defRPr/>
            </a:pPr>
            <a:r>
              <a:rPr lang="fr-FR" sz="2400" b="1" kern="0">
                <a:solidFill>
                  <a:srgbClr val="70B856"/>
                </a:solidFill>
                <a:latin typeface="Calibri"/>
                <a:cs typeface="Calibri"/>
                <a:sym typeface="Arial"/>
              </a:rPr>
              <a:t>Architecture Applicative</a:t>
            </a:r>
          </a:p>
          <a:p>
            <a:pPr defTabSz="685800">
              <a:lnSpc>
                <a:spcPts val="2250"/>
              </a:lnSpc>
              <a:spcBef>
                <a:spcPct val="0"/>
              </a:spcBef>
              <a:defRPr/>
            </a:pPr>
            <a:endParaRPr lang="fr-FR" sz="2400" b="1" kern="0">
              <a:solidFill>
                <a:srgbClr val="70B856"/>
              </a:solidFill>
              <a:latin typeface="Calibri"/>
              <a:cs typeface="Calibri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FC70FADA-4C31-DC08-FFCB-06F114801DAA}"/>
              </a:ext>
            </a:extLst>
          </p:cNvPr>
          <p:cNvSpPr txBox="1"/>
          <p:nvPr/>
        </p:nvSpPr>
        <p:spPr>
          <a:xfrm>
            <a:off x="891737" y="3058137"/>
            <a:ext cx="736052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FR">
                <a:solidFill>
                  <a:schemeClr val="accent1"/>
                </a:solidFill>
                <a:latin typeface="Calibri"/>
                <a:ea typeface="+mn-lt"/>
                <a:cs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RDF_S4_AA_1604_Architecture de Haut Niveau (High </a:t>
            </a:r>
            <a:r>
              <a:rPr lang="fr-FR" err="1">
                <a:solidFill>
                  <a:schemeClr val="accent1"/>
                </a:solidFill>
                <a:latin typeface="Calibri"/>
                <a:ea typeface="+mn-lt"/>
                <a:cs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vel</a:t>
            </a:r>
            <a:r>
              <a:rPr lang="fr-FR">
                <a:solidFill>
                  <a:schemeClr val="accent1"/>
                </a:solidFill>
                <a:latin typeface="Calibri"/>
                <a:ea typeface="+mn-lt"/>
                <a:cs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)</a:t>
            </a:r>
            <a:endParaRPr lang="fr-FR">
              <a:solidFill>
                <a:schemeClr val="accent1"/>
              </a:solidFill>
              <a:latin typeface="Calibri"/>
              <a:ea typeface="+mn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024591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62A709-8957-4A61-A38D-A1C334D36E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1" y="1074342"/>
            <a:ext cx="8820149" cy="475911"/>
          </a:xfrm>
        </p:spPr>
        <p:txBody>
          <a:bodyPr/>
          <a:lstStyle/>
          <a:p>
            <a:pPr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</a:pPr>
            <a:r>
              <a:rPr lang="fr-FR" b="1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ur de table et attentes</a:t>
            </a:r>
          </a:p>
        </p:txBody>
      </p:sp>
      <p:pic>
        <p:nvPicPr>
          <p:cNvPr id="5" name="Picture 2" descr="http://accountabilityroundtable.org/wp-content/uploads/2011/08/roundtable-1024x768.jpg">
            <a:extLst>
              <a:ext uri="{FF2B5EF4-FFF2-40B4-BE49-F238E27FC236}">
                <a16:creationId xmlns:a16="http://schemas.microsoft.com/office/drawing/2014/main" id="{291042BB-5160-4DB9-AD5F-1FFAF8497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225490" y="2410528"/>
            <a:ext cx="6693020" cy="2746664"/>
          </a:xfrm>
          <a:prstGeom prst="rect">
            <a:avLst/>
          </a:prstGeom>
          <a:noFill/>
        </p:spPr>
      </p:pic>
      <p:grpSp>
        <p:nvGrpSpPr>
          <p:cNvPr id="2" name="Group 1"/>
          <p:cNvGrpSpPr/>
          <p:nvPr/>
        </p:nvGrpSpPr>
        <p:grpSpPr>
          <a:xfrm>
            <a:off x="3707904" y="3270803"/>
            <a:ext cx="1728192" cy="1026114"/>
            <a:chOff x="623392" y="2060849"/>
            <a:chExt cx="2304256" cy="1368152"/>
          </a:xfrm>
        </p:grpSpPr>
        <p:pic>
          <p:nvPicPr>
            <p:cNvPr id="2050" name="Picture 2" descr="Image result for papier nom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936" t="28464" r="11738" b="27404"/>
            <a:stretch/>
          </p:blipFill>
          <p:spPr bwMode="auto">
            <a:xfrm>
              <a:off x="623392" y="2060849"/>
              <a:ext cx="2304256" cy="13681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ZoneTexte 3">
              <a:extLst>
                <a:ext uri="{FF2B5EF4-FFF2-40B4-BE49-F238E27FC236}">
                  <a16:creationId xmlns:a16="http://schemas.microsoft.com/office/drawing/2014/main" id="{986AF4E0-00BE-4FED-84CE-7FF0EB0FBB48}"/>
                </a:ext>
              </a:extLst>
            </p:cNvPr>
            <p:cNvSpPr txBox="1"/>
            <p:nvPr/>
          </p:nvSpPr>
          <p:spPr>
            <a:xfrm rot="21259743">
              <a:off x="898569" y="2492489"/>
              <a:ext cx="1876277" cy="476727"/>
            </a:xfrm>
            <a:prstGeom prst="roundRect">
              <a:avLst/>
            </a:prstGeom>
            <a:noFill/>
            <a:ln w="28575">
              <a:noFill/>
            </a:ln>
          </p:spPr>
          <p:txBody>
            <a:bodyPr wrap="none" rtlCol="0">
              <a:spAutoFit/>
            </a:bodyPr>
            <a:lstStyle/>
            <a:p>
              <a:pPr algn="l"/>
              <a:r>
                <a:rPr lang="fr-FR" sz="1500">
                  <a:solidFill>
                    <a:schemeClr val="accent2"/>
                  </a:solidFill>
                  <a:latin typeface="Forte" pitchFamily="66" charset="0"/>
                </a:rPr>
                <a:t>Prénom NOM </a:t>
              </a:r>
              <a:endParaRPr lang="en-US" sz="1500" err="1">
                <a:solidFill>
                  <a:schemeClr val="accent2"/>
                </a:solidFill>
                <a:latin typeface="Forte" pitchFamily="66" charset="0"/>
              </a:endParaRPr>
            </a:p>
          </p:txBody>
        </p:sp>
      </p:grp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82BEA5-0A63-4263-9CDC-51C2C266AA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489448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EDA399E3-E6C7-0857-2DF8-3ADB35C08C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27784" y="4036112"/>
            <a:ext cx="6192366" cy="1835733"/>
          </a:xfrm>
        </p:spPr>
        <p:txBody>
          <a:bodyPr anchor="ctr"/>
          <a:lstStyle/>
          <a:p>
            <a:pPr algn="ctr"/>
            <a:r>
              <a:rPr lang="fr-FR" sz="4000" b="1"/>
              <a:t>MERCI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8EDA9A47-4902-F504-B01F-1D3D9EFCA41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D6F72BC-51F6-4511-8CB4-7E24A9621DAC}" type="datetime1">
              <a:rPr lang="fr-FR" smtClean="0"/>
              <a:t>09/10/2024</a:t>
            </a:fld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AF3D98B-9B87-411B-F3C9-D0C9F95DFB1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565710" y="6705600"/>
            <a:ext cx="576261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2665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9D16AED-3891-43AE-8D42-2CEF71172705}"/>
              </a:ext>
            </a:extLst>
          </p:cNvPr>
          <p:cNvSpPr/>
          <p:nvPr/>
        </p:nvSpPr>
        <p:spPr>
          <a:xfrm>
            <a:off x="871024" y="2127741"/>
            <a:ext cx="8104164" cy="26860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Image 21">
            <a:extLst>
              <a:ext uri="{FF2B5EF4-FFF2-40B4-BE49-F238E27FC236}">
                <a16:creationId xmlns:a16="http://schemas.microsoft.com/office/drawing/2014/main" id="{80AAE744-57A6-4000-944C-27E0DB9EB9B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25" b="10625"/>
          <a:stretch/>
        </p:blipFill>
        <p:spPr>
          <a:xfrm>
            <a:off x="279162" y="1535281"/>
            <a:ext cx="1183722" cy="1183722"/>
          </a:xfrm>
          <a:prstGeom prst="ellipse">
            <a:avLst/>
          </a:prstGeom>
          <a:ln w="63500" cap="rnd">
            <a:noFill/>
          </a:ln>
          <a:effectLst/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A8CDEFE-8D1B-4B7B-A0A8-6DCA2ABAB268}"/>
              </a:ext>
            </a:extLst>
          </p:cNvPr>
          <p:cNvSpPr txBox="1"/>
          <p:nvPr/>
        </p:nvSpPr>
        <p:spPr>
          <a:xfrm>
            <a:off x="1039836" y="2501262"/>
            <a:ext cx="8104164" cy="193899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fr-FR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Analyse de l’existant et identification des irritants</a:t>
            </a:r>
          </a:p>
          <a:p>
            <a:r>
              <a:rPr lang="fr-FR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Mise en avant des modèles standards</a:t>
            </a:r>
          </a:p>
          <a:p>
            <a:r>
              <a:rPr lang="fr-FR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Co-construction d’un modèle cible / analyse d’impact (population / SI)</a:t>
            </a:r>
          </a:p>
          <a:p>
            <a:r>
              <a:rPr lang="fr-FR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- Recommandation de mise en œuvre</a:t>
            </a:r>
          </a:p>
        </p:txBody>
      </p:sp>
      <p:sp>
        <p:nvSpPr>
          <p:cNvPr id="2" name="Espace réservé du texte 4">
            <a:extLst>
              <a:ext uri="{FF2B5EF4-FFF2-40B4-BE49-F238E27FC236}">
                <a16:creationId xmlns:a16="http://schemas.microsoft.com/office/drawing/2014/main" id="{6B01A7B2-6580-0708-3A2F-40E333E5AAD5}"/>
              </a:ext>
            </a:extLst>
          </p:cNvPr>
          <p:cNvSpPr txBox="1">
            <a:spLocks/>
          </p:cNvSpPr>
          <p:nvPr/>
        </p:nvSpPr>
        <p:spPr>
          <a:xfrm>
            <a:off x="210313" y="902705"/>
            <a:ext cx="7056437" cy="115252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396000" indent="0" algn="l" defTabSz="914400" rtl="0" eaLnBrk="1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4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39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80000" indent="0" algn="l" defTabSz="914400" rtl="0" eaLnBrk="1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5pPr>
            <a:lvl6pPr marL="108000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5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rgbClr val="0053A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fr-FR" sz="2900" b="1" i="0" u="none" strike="noStrike" kern="1200" cap="none" spc="0" normalizeH="0" baseline="0" noProof="0" dirty="0">
                <a:ln>
                  <a:noFill/>
                </a:ln>
                <a:solidFill>
                  <a:srgbClr val="71B857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Attendus des ateliers</a:t>
            </a:r>
            <a:endParaRPr kumimoji="0" lang="fr-FR" sz="2900" b="1" i="0" u="none" strike="noStrike" kern="1200" cap="none" spc="0" normalizeH="0" baseline="0" noProof="0" dirty="0">
              <a:ln>
                <a:noFill/>
              </a:ln>
              <a:solidFill>
                <a:srgbClr val="71B857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5108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9D16AED-3891-43AE-8D42-2CEF71172705}"/>
              </a:ext>
            </a:extLst>
          </p:cNvPr>
          <p:cNvSpPr/>
          <p:nvPr/>
        </p:nvSpPr>
        <p:spPr>
          <a:xfrm>
            <a:off x="365760" y="1645920"/>
            <a:ext cx="8609428" cy="43093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Espace réservé du texte 4">
            <a:extLst>
              <a:ext uri="{FF2B5EF4-FFF2-40B4-BE49-F238E27FC236}">
                <a16:creationId xmlns:a16="http://schemas.microsoft.com/office/drawing/2014/main" id="{6B01A7B2-6580-0708-3A2F-40E333E5AAD5}"/>
              </a:ext>
            </a:extLst>
          </p:cNvPr>
          <p:cNvSpPr txBox="1">
            <a:spLocks/>
          </p:cNvSpPr>
          <p:nvPr/>
        </p:nvSpPr>
        <p:spPr>
          <a:xfrm>
            <a:off x="210313" y="902705"/>
            <a:ext cx="7056437" cy="115252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396000" indent="0" algn="l" defTabSz="914400" rtl="0" eaLnBrk="1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4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39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80000" indent="0" algn="l" defTabSz="914400" rtl="0" eaLnBrk="1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5pPr>
            <a:lvl6pPr marL="108000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5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rgbClr val="0053A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fr-FR" sz="2900" b="1" i="0" u="none" strike="noStrike" kern="1200" cap="none" spc="0" normalizeH="0" baseline="0" noProof="0" dirty="0">
                <a:ln>
                  <a:noFill/>
                </a:ln>
                <a:solidFill>
                  <a:srgbClr val="71B857"/>
                </a:solidFill>
                <a:effectLst/>
                <a:uLnTx/>
                <a:uFillTx/>
                <a:latin typeface="Calibri"/>
                <a:ea typeface="Calibri" panose="020F0502020204030204" pitchFamily="34" charset="0"/>
                <a:cs typeface="Calibri"/>
              </a:rPr>
              <a:t>INTRODUCTION</a:t>
            </a:r>
            <a:endParaRPr kumimoji="0" lang="fr-FR" sz="2900" b="1" i="0" u="none" strike="noStrike" kern="1200" cap="none" spc="0" normalizeH="0" baseline="0" noProof="0" dirty="0">
              <a:ln>
                <a:noFill/>
              </a:ln>
              <a:solidFill>
                <a:srgbClr val="71B857"/>
              </a:solidFill>
              <a:effectLst/>
              <a:uLnTx/>
              <a:uFillTx/>
              <a:latin typeface="Calibri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FC35E12D-4F01-AD28-5FD3-8CE74AD0F4F4}"/>
              </a:ext>
            </a:extLst>
          </p:cNvPr>
          <p:cNvSpPr txBox="1"/>
          <p:nvPr/>
        </p:nvSpPr>
        <p:spPr>
          <a:xfrm>
            <a:off x="484807" y="2055230"/>
            <a:ext cx="817438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dirty="0"/>
              <a:t>Aujourd’hui, nous allons nous concentrer spécifiquement sur l’approvisionnement des dépôts régionaux. Nous allons examiner les points à améliorer et les solutions à mettre en place pour rationaliser nos processus d'approvisionnement. 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34BA39FB-9D40-D3D6-DF61-79EA27A9AC68}"/>
              </a:ext>
            </a:extLst>
          </p:cNvPr>
          <p:cNvSpPr txBox="1"/>
          <p:nvPr/>
        </p:nvSpPr>
        <p:spPr>
          <a:xfrm>
            <a:off x="603855" y="4288750"/>
            <a:ext cx="852678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b="1" dirty="0"/>
              <a:t>Thèmes abordés </a:t>
            </a:r>
            <a:r>
              <a:rPr lang="fr-FR" dirty="0"/>
              <a:t>:</a:t>
            </a:r>
          </a:p>
          <a:p>
            <a:r>
              <a:rPr lang="fr-FR" dirty="0"/>
              <a:t> rationalisation des outils, gestion des données de base, processus PO/SO vs STO, activation des fonctionnalités MRP et ATP, maturité des processus standards"</a:t>
            </a:r>
          </a:p>
        </p:txBody>
      </p:sp>
    </p:spTree>
    <p:extLst>
      <p:ext uri="{BB962C8B-B14F-4D97-AF65-F5344CB8AC3E}">
        <p14:creationId xmlns:p14="http://schemas.microsoft.com/office/powerpoint/2010/main" val="34506743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pour une image  7" descr="Une image contenant assis, casque, table, petit&#10;&#10;Description générée automatiquement">
            <a:extLst>
              <a:ext uri="{FF2B5EF4-FFF2-40B4-BE49-F238E27FC236}">
                <a16:creationId xmlns:a16="http://schemas.microsoft.com/office/drawing/2014/main" id="{AC45CDA7-8F31-436A-9328-F1571A28286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888" b="18888"/>
          <a:stretch>
            <a:fillRect/>
          </a:stretch>
        </p:blipFill>
        <p:spPr/>
      </p:pic>
      <p:sp>
        <p:nvSpPr>
          <p:cNvPr id="80" name="Titre 1">
            <a:extLst>
              <a:ext uri="{FF2B5EF4-FFF2-40B4-BE49-F238E27FC236}">
                <a16:creationId xmlns:a16="http://schemas.microsoft.com/office/drawing/2014/main" id="{EFCDDFCC-0FFC-E54D-9108-EC297C63A3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9569" y="3548063"/>
            <a:ext cx="4779170" cy="1215628"/>
          </a:xfrm>
        </p:spPr>
        <p:txBody>
          <a:bodyPr vert="horz" lIns="54000" tIns="0" rIns="72000" bIns="0" rtlCol="0" anchor="b" anchorCtr="0">
            <a:noAutofit/>
          </a:bodyPr>
          <a:lstStyle/>
          <a:p>
            <a:r>
              <a:rPr lang="en-US" sz="2400" b="1" dirty="0" err="1">
                <a:solidFill>
                  <a:schemeClr val="accent2"/>
                </a:solidFill>
                <a:latin typeface="Calibri"/>
                <a:cs typeface="Calibri"/>
              </a:rPr>
              <a:t>Contexte</a:t>
            </a:r>
            <a:r>
              <a:rPr lang="en-US" sz="2400" b="1" dirty="0">
                <a:solidFill>
                  <a:schemeClr val="accent2"/>
                </a:solidFill>
                <a:latin typeface="Calibri"/>
                <a:cs typeface="Calibri"/>
              </a:rPr>
              <a:t> </a:t>
            </a:r>
            <a:r>
              <a:rPr lang="en-US" sz="2400" b="1" dirty="0" err="1">
                <a:solidFill>
                  <a:schemeClr val="accent2"/>
                </a:solidFill>
                <a:latin typeface="Calibri"/>
                <a:cs typeface="Calibri"/>
              </a:rPr>
              <a:t>actuel</a:t>
            </a:r>
            <a:r>
              <a:rPr lang="en-US" sz="2400" b="1" dirty="0">
                <a:solidFill>
                  <a:schemeClr val="accent2"/>
                </a:solidFill>
                <a:latin typeface="Calibri"/>
                <a:cs typeface="Calibri"/>
              </a:rPr>
              <a:t> et </a:t>
            </a:r>
            <a:r>
              <a:rPr lang="en-US" sz="2400" b="1" dirty="0" err="1">
                <a:solidFill>
                  <a:schemeClr val="accent2"/>
                </a:solidFill>
                <a:latin typeface="Calibri"/>
                <a:cs typeface="Calibri"/>
              </a:rPr>
              <a:t>Enjeux</a:t>
            </a:r>
            <a:r>
              <a:rPr lang="en-US" sz="2400" b="1" dirty="0">
                <a:solidFill>
                  <a:schemeClr val="accent2"/>
                </a:solidFill>
                <a:latin typeface="Calibri"/>
                <a:cs typeface="Calibri"/>
              </a:rPr>
              <a:t> </a:t>
            </a:r>
            <a:r>
              <a:rPr lang="en-US" sz="2400" b="1" dirty="0" err="1">
                <a:solidFill>
                  <a:schemeClr val="accent2"/>
                </a:solidFill>
                <a:latin typeface="Calibri"/>
                <a:cs typeface="Calibri"/>
              </a:rPr>
              <a:t>logistiques</a:t>
            </a:r>
            <a:endParaRPr lang="en-US" sz="2400" b="1" dirty="0">
              <a:solidFill>
                <a:schemeClr val="accent2"/>
              </a:solidFill>
              <a:latin typeface="Calibri"/>
              <a:cs typeface="Calibri"/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E09D34C6-4BF2-4DC5-8A4D-B1F1F41768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5</a:t>
            </a:fld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9A3EED6-539B-46B8-B572-CE4E9A70B6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185267"/>
            <a:ext cx="1772216" cy="1512170"/>
          </a:xfrm>
        </p:spPr>
        <p:txBody>
          <a:bodyPr/>
          <a:lstStyle/>
          <a:p>
            <a:r>
              <a:rPr lang="fr-FR" u="sng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032135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25FF5CD-EA48-1012-A41B-D855610CDD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95E54-0000-4780-9DB7-3A9BB1262BE7}" type="datetime1">
              <a:rPr lang="fr-FR" smtClean="0"/>
              <a:t>09/10/2024</a:t>
            </a:fld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9400F38F-0711-B405-99BC-6F3B65EFA7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fr-FR" smtClean="0">
                <a:latin typeface="Calibri"/>
                <a:ea typeface="Calibri"/>
                <a:cs typeface="Calibri"/>
              </a:rPr>
              <a:t>6</a:t>
            </a:fld>
            <a:endParaRPr lang="fr-FR">
              <a:latin typeface="Calibri"/>
              <a:ea typeface="Calibri"/>
              <a:cs typeface="Calibri"/>
            </a:endParaRPr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F7EA82B3-4240-D353-D7F8-83AD11DB3092}"/>
              </a:ext>
            </a:extLst>
          </p:cNvPr>
          <p:cNvSpPr txBox="1">
            <a:spLocks/>
          </p:cNvSpPr>
          <p:nvPr/>
        </p:nvSpPr>
        <p:spPr bwMode="gray">
          <a:xfrm>
            <a:off x="1596073" y="274407"/>
            <a:ext cx="7056437" cy="11525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9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1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396000" indent="0" algn="l" defTabSz="914400" rtl="0" eaLnBrk="1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4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39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80000" indent="0" algn="l" defTabSz="914400" rtl="0" eaLnBrk="1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5pPr>
            <a:lvl6pPr marL="108000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5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b="1" dirty="0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tuellement, GRDF fait face à des défis logistiques majeurs : une communication limitée entre l'entrepôt central et les régions, des stocks mal gérés, et une complexité accrue des flux.</a:t>
            </a:r>
          </a:p>
        </p:txBody>
      </p:sp>
      <p:pic>
        <p:nvPicPr>
          <p:cNvPr id="286" name="Image 285">
            <a:extLst>
              <a:ext uri="{FF2B5EF4-FFF2-40B4-BE49-F238E27FC236}">
                <a16:creationId xmlns:a16="http://schemas.microsoft.com/office/drawing/2014/main" id="{4399F07F-E431-9168-4A02-F4FB7EE433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199" y="1744815"/>
            <a:ext cx="7949381" cy="3582238"/>
          </a:xfrm>
          <a:prstGeom prst="rect">
            <a:avLst/>
          </a:prstGeom>
        </p:spPr>
      </p:pic>
      <p:sp>
        <p:nvSpPr>
          <p:cNvPr id="290" name="Rectangle 289">
            <a:extLst>
              <a:ext uri="{FF2B5EF4-FFF2-40B4-BE49-F238E27FC236}">
                <a16:creationId xmlns:a16="http://schemas.microsoft.com/office/drawing/2014/main" id="{9ECD199C-4E48-3D99-64FD-589FCFA1E6DC}"/>
              </a:ext>
            </a:extLst>
          </p:cNvPr>
          <p:cNvSpPr/>
          <p:nvPr/>
        </p:nvSpPr>
        <p:spPr>
          <a:xfrm>
            <a:off x="7083188" y="2197290"/>
            <a:ext cx="1323392" cy="327546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974016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25FF5CD-EA48-1012-A41B-D855610CDD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95E54-0000-4780-9DB7-3A9BB1262BE7}" type="datetime1">
              <a:rPr lang="fr-FR" smtClean="0"/>
              <a:t>10/10/2024</a:t>
            </a:fld>
            <a:endParaRPr lang="fr-FR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9400F38F-0711-B405-99BC-6F3B65EFA7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C140CD-8AED-46FF-A9A2-77308F3F39AE}" type="slidenum">
              <a:rPr lang="fr-FR" smtClean="0">
                <a:latin typeface="Calibri"/>
                <a:ea typeface="Calibri"/>
                <a:cs typeface="Calibri"/>
              </a:rPr>
              <a:t>7</a:t>
            </a:fld>
            <a:endParaRPr lang="fr-FR">
              <a:latin typeface="Calibri"/>
              <a:ea typeface="Calibri"/>
              <a:cs typeface="Calibri"/>
            </a:endParaRPr>
          </a:p>
        </p:txBody>
      </p:sp>
      <p:sp>
        <p:nvSpPr>
          <p:cNvPr id="4" name="Espace réservé du texte 4">
            <a:extLst>
              <a:ext uri="{FF2B5EF4-FFF2-40B4-BE49-F238E27FC236}">
                <a16:creationId xmlns:a16="http://schemas.microsoft.com/office/drawing/2014/main" id="{F7EA82B3-4240-D353-D7F8-83AD11DB3092}"/>
              </a:ext>
            </a:extLst>
          </p:cNvPr>
          <p:cNvSpPr txBox="1">
            <a:spLocks/>
          </p:cNvSpPr>
          <p:nvPr/>
        </p:nvSpPr>
        <p:spPr bwMode="gray">
          <a:xfrm>
            <a:off x="1596073" y="274407"/>
            <a:ext cx="7056437" cy="11525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9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21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396000" indent="0" algn="l" defTabSz="914400" rtl="0" eaLnBrk="1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400" kern="12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3960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80000" indent="0" algn="l" defTabSz="914400" rtl="0" eaLnBrk="1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sz="12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5pPr>
            <a:lvl6pPr marL="108000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5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e diagramme illustre les principaux axes de l'optimisation de la chaîne d'approvisionnement discutés lors de l'atelier. Au centre, l'objectif global est l'optimisation de la </a:t>
            </a:r>
            <a:r>
              <a:rPr lang="fr-FR" sz="2000" dirty="0" err="1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upply</a:t>
            </a:r>
            <a:r>
              <a:rPr lang="fr-FR" sz="2000" dirty="0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fr-FR" sz="2000" dirty="0" err="1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hain</a:t>
            </a:r>
            <a:endParaRPr lang="fr-FR" sz="2000" b="1" dirty="0">
              <a:solidFill>
                <a:schemeClr val="accent4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" name="Diagramme 4">
            <a:extLst>
              <a:ext uri="{FF2B5EF4-FFF2-40B4-BE49-F238E27FC236}">
                <a16:creationId xmlns:a16="http://schemas.microsoft.com/office/drawing/2014/main" id="{C4386EE6-4DFB-4987-8C10-CB21F96565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6054663"/>
              </p:ext>
            </p:extLst>
          </p:nvPr>
        </p:nvGraphicFramePr>
        <p:xfrm>
          <a:off x="1780032" y="1835912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758992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pour une image  7" descr="Une image contenant assis, casque, table, petit&#10;&#10;Description générée automatiquement">
            <a:extLst>
              <a:ext uri="{FF2B5EF4-FFF2-40B4-BE49-F238E27FC236}">
                <a16:creationId xmlns:a16="http://schemas.microsoft.com/office/drawing/2014/main" id="{AC45CDA7-8F31-436A-9328-F1571A28286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888" b="18888"/>
          <a:stretch>
            <a:fillRect/>
          </a:stretch>
        </p:blipFill>
        <p:spPr/>
      </p:pic>
      <p:sp>
        <p:nvSpPr>
          <p:cNvPr id="80" name="Titre 1">
            <a:extLst>
              <a:ext uri="{FF2B5EF4-FFF2-40B4-BE49-F238E27FC236}">
                <a16:creationId xmlns:a16="http://schemas.microsoft.com/office/drawing/2014/main" id="{EFCDDFCC-0FFC-E54D-9108-EC297C63A3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9569" y="3548063"/>
            <a:ext cx="4779170" cy="1215628"/>
          </a:xfrm>
        </p:spPr>
        <p:txBody>
          <a:bodyPr vert="horz" lIns="54000" tIns="0" rIns="72000" bIns="0" rtlCol="0" anchor="b" anchorCtr="0">
            <a:noAutofit/>
          </a:bodyPr>
          <a:lstStyle/>
          <a:p>
            <a:r>
              <a:rPr lang="en-US" sz="2400" b="1" dirty="0">
                <a:solidFill>
                  <a:schemeClr val="accent2"/>
                </a:solidFill>
                <a:latin typeface="Calibri"/>
                <a:cs typeface="Calibri"/>
              </a:rPr>
              <a:t>Solutions </a:t>
            </a:r>
            <a:r>
              <a:rPr lang="en-US" sz="2400" b="1" dirty="0" err="1">
                <a:solidFill>
                  <a:schemeClr val="accent2"/>
                </a:solidFill>
                <a:latin typeface="Calibri"/>
                <a:cs typeface="Calibri"/>
              </a:rPr>
              <a:t>Ciblées</a:t>
            </a:r>
            <a:endParaRPr lang="en-US" sz="2400" b="1" dirty="0">
              <a:solidFill>
                <a:schemeClr val="accent2"/>
              </a:solidFill>
              <a:latin typeface="Calibri"/>
              <a:cs typeface="Calibri"/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E09D34C6-4BF2-4DC5-8A4D-B1F1F41768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8</a:t>
            </a:fld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9A3EED6-539B-46B8-B572-CE4E9A70B6F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185267"/>
            <a:ext cx="1772216" cy="1512170"/>
          </a:xfrm>
        </p:spPr>
        <p:txBody>
          <a:bodyPr/>
          <a:lstStyle/>
          <a:p>
            <a:r>
              <a:rPr lang="fr-FR" u="sng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2947120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052E2F4-E2AA-DE76-1AA4-C0F8955D4F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95E54-0000-4780-9DB7-3A9BB1262BE7}" type="datetime1">
              <a:rPr lang="fr-FR" smtClean="0"/>
              <a:t>09/10/2024</a:t>
            </a:fld>
            <a:endParaRPr lang="fr-FR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ED97FE02-5EA3-3CD3-E064-70407B8900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b="1" dirty="0">
                <a:solidFill>
                  <a:schemeClr val="accent4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ution Ciblées </a:t>
            </a:r>
          </a:p>
        </p:txBody>
      </p:sp>
      <p:graphicFrame>
        <p:nvGraphicFramePr>
          <p:cNvPr id="11" name="Tableau 10">
            <a:extLst>
              <a:ext uri="{FF2B5EF4-FFF2-40B4-BE49-F238E27FC236}">
                <a16:creationId xmlns:a16="http://schemas.microsoft.com/office/drawing/2014/main" id="{8AF0DB88-C2B5-2BE3-49B1-D0C2ED1DFB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3117578"/>
              </p:ext>
            </p:extLst>
          </p:nvPr>
        </p:nvGraphicFramePr>
        <p:xfrm>
          <a:off x="846138" y="2286000"/>
          <a:ext cx="7451724" cy="2286000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2483908">
                  <a:extLst>
                    <a:ext uri="{9D8B030D-6E8A-4147-A177-3AD203B41FA5}">
                      <a16:colId xmlns:a16="http://schemas.microsoft.com/office/drawing/2014/main" val="2069528249"/>
                    </a:ext>
                  </a:extLst>
                </a:gridCol>
                <a:gridCol w="2483908">
                  <a:extLst>
                    <a:ext uri="{9D8B030D-6E8A-4147-A177-3AD203B41FA5}">
                      <a16:colId xmlns:a16="http://schemas.microsoft.com/office/drawing/2014/main" val="841857938"/>
                    </a:ext>
                  </a:extLst>
                </a:gridCol>
                <a:gridCol w="2483908">
                  <a:extLst>
                    <a:ext uri="{9D8B030D-6E8A-4147-A177-3AD203B41FA5}">
                      <a16:colId xmlns:a16="http://schemas.microsoft.com/office/drawing/2014/main" val="79424576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fr-FR" dirty="0"/>
                        <a:t>Problèmes Identifiés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Solutions Actuelles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Cible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29270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dirty="0"/>
                        <a:t>Multiplicité des outils de comman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Outils dispara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Centraliser les outil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24181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dirty="0"/>
                        <a:t>Données de base non harmonisé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Fichiers éparpillé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Standardiser les donné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7252486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fr-FR" dirty="0"/>
                        <a:t>Manque de visibilité sur les niveaux de stoc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Suivi manu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FR" dirty="0"/>
                        <a:t>Mise en place d'outils automatisé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664621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31937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47480938,9,Slide214748068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DF_BleuC">
  <a:themeElements>
    <a:clrScheme name="GRDF">
      <a:dk1>
        <a:sysClr val="windowText" lastClr="000000"/>
      </a:dk1>
      <a:lt1>
        <a:srgbClr val="FFFFFF"/>
      </a:lt1>
      <a:dk2>
        <a:srgbClr val="662483"/>
      </a:dk2>
      <a:lt2>
        <a:srgbClr val="CCCCC6"/>
      </a:lt2>
      <a:accent1>
        <a:srgbClr val="0053A1"/>
      </a:accent1>
      <a:accent2>
        <a:srgbClr val="009BC4"/>
      </a:accent2>
      <a:accent3>
        <a:srgbClr val="00B1AF"/>
      </a:accent3>
      <a:accent4>
        <a:srgbClr val="71B857"/>
      </a:accent4>
      <a:accent5>
        <a:srgbClr val="FAB200"/>
      </a:accent5>
      <a:accent6>
        <a:srgbClr val="9796A3"/>
      </a:accent6>
      <a:hlink>
        <a:srgbClr val="000000"/>
      </a:hlink>
      <a:folHlink>
        <a:srgbClr val="000000"/>
      </a:folHlink>
    </a:clrScheme>
    <a:fontScheme name="GRDF">
      <a:majorFont>
        <a:latin typeface="Avenir LT Std 65 Medium"/>
        <a:ea typeface=""/>
        <a:cs typeface=""/>
      </a:majorFont>
      <a:minorFont>
        <a:latin typeface="Avenir LT Std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6130D37021174BB8DFACFF9A524738" ma:contentTypeVersion="4" ma:contentTypeDescription="Crée un document." ma:contentTypeScope="" ma:versionID="4cb40b5ea55b04eefd2db10d82cfd4c4">
  <xsd:schema xmlns:xsd="http://www.w3.org/2001/XMLSchema" xmlns:xs="http://www.w3.org/2001/XMLSchema" xmlns:p="http://schemas.microsoft.com/office/2006/metadata/properties" xmlns:ns2="dbd171d2-276c-4e53-80ee-a35248ca95bb" targetNamespace="http://schemas.microsoft.com/office/2006/metadata/properties" ma:root="true" ma:fieldsID="79764021801c292465e82666604552e8" ns2:_="">
    <xsd:import namespace="dbd171d2-276c-4e53-80ee-a35248ca95b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d171d2-276c-4e53-80ee-a35248ca95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CE3DFEC-561F-4E09-B6A0-D5246994ABAB}">
  <ds:schemaRefs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dbd171d2-276c-4e53-80ee-a35248ca95bb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97CE085-9F32-40C2-B776-9A282A515D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bd171d2-276c-4e53-80ee-a35248ca95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642BD08-5F32-4A36-A74F-89ADA1D4488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24</TotalTime>
  <Words>1593</Words>
  <Application>Microsoft Office PowerPoint</Application>
  <PresentationFormat>Affichage à l'écran (4:3)</PresentationFormat>
  <Paragraphs>360</Paragraphs>
  <Slides>20</Slides>
  <Notes>11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0</vt:i4>
      </vt:variant>
    </vt:vector>
  </HeadingPairs>
  <TitlesOfParts>
    <vt:vector size="34" baseType="lpstr">
      <vt:lpstr>AntagometricaBTW01-Bold</vt:lpstr>
      <vt:lpstr>Arial</vt:lpstr>
      <vt:lpstr>Avenir LT Std 55 Roman</vt:lpstr>
      <vt:lpstr>Avenir LT Std 65 Medium</vt:lpstr>
      <vt:lpstr>Calibri</vt:lpstr>
      <vt:lpstr>Courier New,monospace</vt:lpstr>
      <vt:lpstr>Forte</vt:lpstr>
      <vt:lpstr>LVMH</vt:lpstr>
      <vt:lpstr>Montserrat Bold</vt:lpstr>
      <vt:lpstr>Montserrat SemiBold</vt:lpstr>
      <vt:lpstr>Selawik</vt:lpstr>
      <vt:lpstr>Wingdings</vt:lpstr>
      <vt:lpstr>GRDF_BleuC</vt:lpstr>
      <vt:lpstr>think-cell Slide</vt:lpstr>
      <vt:lpstr>Présentation PowerPoint</vt:lpstr>
      <vt:lpstr>Tour de table et attentes</vt:lpstr>
      <vt:lpstr>Présentation PowerPoint</vt:lpstr>
      <vt:lpstr>Présentation PowerPoint</vt:lpstr>
      <vt:lpstr>Contexte actuel et Enjeux logistiques</vt:lpstr>
      <vt:lpstr>Présentation PowerPoint</vt:lpstr>
      <vt:lpstr>Présentation PowerPoint</vt:lpstr>
      <vt:lpstr>Solutions Ciblées</vt:lpstr>
      <vt:lpstr>Présentation PowerPoint</vt:lpstr>
      <vt:lpstr>Analyse des modules SAP</vt:lpstr>
      <vt:lpstr>Présentation PowerPoint</vt:lpstr>
      <vt:lpstr>Présentation PowerPoint</vt:lpstr>
      <vt:lpstr>Présentation PowerPoint</vt:lpstr>
      <vt:lpstr>Architecture Fonctionnelle</vt:lpstr>
      <vt:lpstr>Présentation PowerPoint</vt:lpstr>
      <vt:lpstr>Présentation PowerPoint</vt:lpstr>
      <vt:lpstr>Présentation PowerPoint</vt:lpstr>
      <vt:lpstr>Architecture Applicative</vt:lpstr>
      <vt:lpstr>Présentation PowerPoint</vt:lpstr>
      <vt:lpstr>Présentation PowerPoint</vt:lpstr>
    </vt:vector>
  </TitlesOfParts>
  <Manager>GRDF</Manager>
  <Company>GRD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GRDF</dc:subject>
  <dc:creator>FOUCHERE Penelope (Gaz Réseau Distribution France)</dc:creator>
  <cp:lastModifiedBy>Elijah Boussaha</cp:lastModifiedBy>
  <cp:revision>2</cp:revision>
  <dcterms:created xsi:type="dcterms:W3CDTF">2020-02-13T08:34:14Z</dcterms:created>
  <dcterms:modified xsi:type="dcterms:W3CDTF">2024-10-10T07:5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6130D37021174BB8DFACFF9A524738</vt:lpwstr>
  </property>
  <property fmtid="{D5CDD505-2E9C-101B-9397-08002B2CF9AE}" pid="3" name="MediaServiceImageTags">
    <vt:lpwstr/>
  </property>
</Properties>
</file>